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27"/>
  </p:notesMasterIdLst>
  <p:sldIdLst>
    <p:sldId id="334" r:id="rId6"/>
    <p:sldId id="723" r:id="rId7"/>
    <p:sldId id="724" r:id="rId8"/>
    <p:sldId id="725" r:id="rId9"/>
    <p:sldId id="319" r:id="rId10"/>
    <p:sldId id="712" r:id="rId11"/>
    <p:sldId id="713" r:id="rId12"/>
    <p:sldId id="714" r:id="rId13"/>
    <p:sldId id="716" r:id="rId14"/>
    <p:sldId id="726" r:id="rId15"/>
    <p:sldId id="383" r:id="rId16"/>
    <p:sldId id="386" r:id="rId17"/>
    <p:sldId id="719" r:id="rId18"/>
    <p:sldId id="731" r:id="rId19"/>
    <p:sldId id="715" r:id="rId20"/>
    <p:sldId id="730" r:id="rId21"/>
    <p:sldId id="732" r:id="rId22"/>
    <p:sldId id="728" r:id="rId23"/>
    <p:sldId id="722" r:id="rId24"/>
    <p:sldId id="733" r:id="rId25"/>
    <p:sldId id="721" r:id="rId2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le Campbell" initials="DC" lastIdx="3" clrIdx="0">
    <p:extLst>
      <p:ext uri="{19B8F6BF-5375-455C-9EA6-DF929625EA0E}">
        <p15:presenceInfo xmlns:p15="http://schemas.microsoft.com/office/powerpoint/2012/main" userId="S::D3Campbell@ltu.edu.au::504a1098-e59b-4716-8dc0-7f0da358cc4d" providerId="AD"/>
      </p:ext>
    </p:extLst>
  </p:cmAuthor>
  <p:cmAuthor id="2" name="Mary Raori" initials="MR" lastIdx="1" clrIdx="1">
    <p:extLst>
      <p:ext uri="{19B8F6BF-5375-455C-9EA6-DF929625EA0E}">
        <p15:presenceInfo xmlns:p15="http://schemas.microsoft.com/office/powerpoint/2012/main" userId="S-1-5-21-4244847808-4176088979-4119233041-14431" providerId="AD"/>
      </p:ext>
    </p:extLst>
  </p:cmAuthor>
  <p:cmAuthor id="3" name="Lilita Waleanisia" initials="LW" lastIdx="7" clrIdx="2">
    <p:extLst>
      <p:ext uri="{19B8F6BF-5375-455C-9EA6-DF929625EA0E}">
        <p15:presenceInfo xmlns:p15="http://schemas.microsoft.com/office/powerpoint/2012/main" userId="S-1-5-21-4244847808-4176088979-4119233041-14516" providerId="AD"/>
      </p:ext>
    </p:extLst>
  </p:cmAuthor>
  <p:cmAuthor id="4" name="Mubeena Shaheed" initials="MS" lastIdx="2" clrIdx="3">
    <p:extLst>
      <p:ext uri="{19B8F6BF-5375-455C-9EA6-DF929625EA0E}">
        <p15:presenceInfo xmlns:p15="http://schemas.microsoft.com/office/powerpoint/2012/main" userId="S-1-5-21-4244847808-4176088979-4119233041-144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6295"/>
    <a:srgbClr val="BCDEC2"/>
    <a:srgbClr val="CC5C97"/>
    <a:srgbClr val="C0504D"/>
    <a:srgbClr val="F0F2F1"/>
    <a:srgbClr val="94D600"/>
    <a:srgbClr val="FFFFFF"/>
    <a:srgbClr val="A58C27"/>
    <a:srgbClr val="9DD3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883" autoAdjust="0"/>
  </p:normalViewPr>
  <p:slideViewPr>
    <p:cSldViewPr snapToGrid="0">
      <p:cViewPr varScale="1">
        <p:scale>
          <a:sx n="68" d="100"/>
          <a:sy n="68" d="100"/>
        </p:scale>
        <p:origin x="656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14509-CFF4-4A25-A1F8-259C9648E394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B33B82-30A1-413C-90F1-5684A7799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3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B33B82-30A1-413C-90F1-5684A7799A3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2930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94078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81796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33B82-30A1-413C-90F1-5684A7799A3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9130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83144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53086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33B82-30A1-413C-90F1-5684A7799A3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4237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6678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2867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788931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FJ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987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851353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1417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4554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g98333c7937_0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5" name="Google Shape;1175;g98333c7937_0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84928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B33B82-30A1-413C-90F1-5684A7799A3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309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g956894a790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1" name="Google Shape;421;g956894a790_0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03613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g956894a790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1" name="Google Shape;421;g956894a790_0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93918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Google Shape;420;g956894a790_0_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1" name="Google Shape;421;g956894a790_0_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967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33B82-30A1-413C-90F1-5684A7799A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778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45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898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567543"/>
            <a:ext cx="2628900" cy="4609420"/>
          </a:xfrm>
          <a:prstGeom prst="rect">
            <a:avLst/>
          </a:prstGeo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567543"/>
            <a:ext cx="7734300" cy="46094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0401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E34A75-CF04-764A-B0B1-571ED77EE68C}" type="datetimeFigureOut">
              <a:rPr lang="en-US" smtClean="0"/>
              <a:pPr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60DDB1-2B86-9242-959B-3719A0987B2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41651" y="584201"/>
            <a:ext cx="5568949" cy="684213"/>
          </a:xfrm>
        </p:spPr>
        <p:txBody>
          <a:bodyPr/>
          <a:lstStyle>
            <a:lvl1pPr marL="0" indent="0">
              <a:buNone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01817" y="1292440"/>
            <a:ext cx="9292281" cy="9144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11195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dk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3"/>
          <p:cNvSpPr txBox="1">
            <a:spLocks noGrp="1"/>
          </p:cNvSpPr>
          <p:nvPr>
            <p:ph type="title" hasCustomPrompt="1"/>
          </p:nvPr>
        </p:nvSpPr>
        <p:spPr>
          <a:xfrm>
            <a:off x="950967" y="1561733"/>
            <a:ext cx="5144800" cy="156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solidFill>
                  <a:srgbClr val="F3F3F3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9600"/>
              <a:buFont typeface="Barlow Condensed"/>
              <a:buNone/>
              <a:defRPr sz="12800" b="1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r>
              <a:t>xx%</a:t>
            </a:r>
          </a:p>
        </p:txBody>
      </p:sp>
      <p:sp>
        <p:nvSpPr>
          <p:cNvPr id="14" name="Google Shape;14;p3"/>
          <p:cNvSpPr txBox="1">
            <a:spLocks noGrp="1"/>
          </p:cNvSpPr>
          <p:nvPr>
            <p:ph type="title" idx="2"/>
          </p:nvPr>
        </p:nvSpPr>
        <p:spPr>
          <a:xfrm>
            <a:off x="935700" y="3212433"/>
            <a:ext cx="4558000" cy="177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6000"/>
              <a:buFont typeface="Barlow Condensed"/>
              <a:buNone/>
              <a:defRPr sz="8000" b="1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15" name="Google Shape;15;p3"/>
          <p:cNvSpPr/>
          <p:nvPr/>
        </p:nvSpPr>
        <p:spPr>
          <a:xfrm>
            <a:off x="7156101" y="20543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6" y="0"/>
                </a:moveTo>
                <a:lnTo>
                  <a:pt x="0" y="14190"/>
                </a:lnTo>
                <a:lnTo>
                  <a:pt x="5685" y="14190"/>
                </a:lnTo>
                <a:lnTo>
                  <a:pt x="8505" y="9096"/>
                </a:lnTo>
                <a:lnTo>
                  <a:pt x="11370" y="14190"/>
                </a:lnTo>
                <a:lnTo>
                  <a:pt x="17055" y="14190"/>
                </a:lnTo>
                <a:lnTo>
                  <a:pt x="909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" name="Google Shape;16;p3"/>
          <p:cNvSpPr/>
          <p:nvPr/>
        </p:nvSpPr>
        <p:spPr>
          <a:xfrm>
            <a:off x="7867641" y="20543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" name="Google Shape;17;p3"/>
          <p:cNvSpPr/>
          <p:nvPr/>
        </p:nvSpPr>
        <p:spPr>
          <a:xfrm>
            <a:off x="8581137" y="20543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06" y="9096"/>
                </a:lnTo>
                <a:lnTo>
                  <a:pt x="11917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" name="Google Shape;18;p3"/>
          <p:cNvSpPr/>
          <p:nvPr/>
        </p:nvSpPr>
        <p:spPr>
          <a:xfrm>
            <a:off x="9318230" y="2054368"/>
            <a:ext cx="711617" cy="604825"/>
          </a:xfrm>
          <a:custGeom>
            <a:avLst/>
            <a:gdLst/>
            <a:ahLst/>
            <a:cxnLst/>
            <a:rect l="l" t="t" r="r" b="b"/>
            <a:pathLst>
              <a:path w="16465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6465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9" name="Google Shape;19;p3"/>
          <p:cNvSpPr/>
          <p:nvPr/>
        </p:nvSpPr>
        <p:spPr>
          <a:xfrm>
            <a:off x="10029780" y="2054368"/>
            <a:ext cx="713563" cy="604825"/>
          </a:xfrm>
          <a:custGeom>
            <a:avLst/>
            <a:gdLst/>
            <a:ahLst/>
            <a:cxnLst/>
            <a:rect l="l" t="t" r="r" b="b"/>
            <a:pathLst>
              <a:path w="16510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6510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0" name="Google Shape;20;p3"/>
          <p:cNvSpPr/>
          <p:nvPr/>
        </p:nvSpPr>
        <p:spPr>
          <a:xfrm>
            <a:off x="10743275" y="20543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3"/>
          <p:cNvSpPr/>
          <p:nvPr/>
        </p:nvSpPr>
        <p:spPr>
          <a:xfrm>
            <a:off x="11454825" y="20543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" name="Google Shape;22;p3"/>
          <p:cNvSpPr/>
          <p:nvPr/>
        </p:nvSpPr>
        <p:spPr>
          <a:xfrm>
            <a:off x="7156101" y="139920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5139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" name="Google Shape;23;p3"/>
          <p:cNvSpPr/>
          <p:nvPr/>
        </p:nvSpPr>
        <p:spPr>
          <a:xfrm>
            <a:off x="7867641" y="139920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5139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" name="Google Shape;24;p3"/>
          <p:cNvSpPr/>
          <p:nvPr/>
        </p:nvSpPr>
        <p:spPr>
          <a:xfrm>
            <a:off x="8581137" y="139920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917" y="0"/>
                </a:lnTo>
                <a:lnTo>
                  <a:pt x="8506" y="5139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" name="Google Shape;25;p3"/>
          <p:cNvSpPr/>
          <p:nvPr/>
        </p:nvSpPr>
        <p:spPr>
          <a:xfrm>
            <a:off x="9318230" y="139920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1" y="0"/>
                </a:moveTo>
                <a:lnTo>
                  <a:pt x="8506" y="14235"/>
                </a:lnTo>
                <a:lnTo>
                  <a:pt x="16465" y="0"/>
                </a:lnTo>
                <a:lnTo>
                  <a:pt x="11371" y="0"/>
                </a:lnTo>
                <a:lnTo>
                  <a:pt x="8506" y="5139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6" name="Google Shape;26;p3"/>
          <p:cNvSpPr/>
          <p:nvPr/>
        </p:nvSpPr>
        <p:spPr>
          <a:xfrm>
            <a:off x="10029780" y="139920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1" y="0"/>
                </a:moveTo>
                <a:lnTo>
                  <a:pt x="8551" y="14235"/>
                </a:lnTo>
                <a:lnTo>
                  <a:pt x="16510" y="0"/>
                </a:lnTo>
                <a:lnTo>
                  <a:pt x="11371" y="0"/>
                </a:lnTo>
                <a:lnTo>
                  <a:pt x="8551" y="5139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" name="Google Shape;27;p3"/>
          <p:cNvSpPr/>
          <p:nvPr/>
        </p:nvSpPr>
        <p:spPr>
          <a:xfrm>
            <a:off x="10743275" y="139920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06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06" y="5139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28;p3"/>
          <p:cNvSpPr/>
          <p:nvPr/>
        </p:nvSpPr>
        <p:spPr>
          <a:xfrm>
            <a:off x="11454825" y="139920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51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5139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" name="Google Shape;29;p3"/>
          <p:cNvSpPr/>
          <p:nvPr/>
        </p:nvSpPr>
        <p:spPr>
          <a:xfrm>
            <a:off x="7156101" y="2804492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5140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3"/>
          <p:cNvSpPr/>
          <p:nvPr/>
        </p:nvSpPr>
        <p:spPr>
          <a:xfrm>
            <a:off x="7867641" y="2804492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5140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3"/>
          <p:cNvSpPr/>
          <p:nvPr/>
        </p:nvSpPr>
        <p:spPr>
          <a:xfrm>
            <a:off x="8581137" y="2804492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5140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2" name="Google Shape;32;p3"/>
          <p:cNvSpPr/>
          <p:nvPr/>
        </p:nvSpPr>
        <p:spPr>
          <a:xfrm>
            <a:off x="9318230" y="2804492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5140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" name="Google Shape;33;p3"/>
          <p:cNvSpPr/>
          <p:nvPr/>
        </p:nvSpPr>
        <p:spPr>
          <a:xfrm>
            <a:off x="10029780" y="2804492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5140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3"/>
          <p:cNvSpPr/>
          <p:nvPr/>
        </p:nvSpPr>
        <p:spPr>
          <a:xfrm>
            <a:off x="10743275" y="2804492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5140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" name="Google Shape;35;p3"/>
          <p:cNvSpPr/>
          <p:nvPr/>
        </p:nvSpPr>
        <p:spPr>
          <a:xfrm>
            <a:off x="11454825" y="2804492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5140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" name="Google Shape;36;p3"/>
          <p:cNvSpPr/>
          <p:nvPr/>
        </p:nvSpPr>
        <p:spPr>
          <a:xfrm>
            <a:off x="7156101" y="4209821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3"/>
          <p:cNvSpPr/>
          <p:nvPr/>
        </p:nvSpPr>
        <p:spPr>
          <a:xfrm>
            <a:off x="7867641" y="4209821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4548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3"/>
          <p:cNvSpPr/>
          <p:nvPr/>
        </p:nvSpPr>
        <p:spPr>
          <a:xfrm>
            <a:off x="8581137" y="4209821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917" y="0"/>
                </a:lnTo>
                <a:lnTo>
                  <a:pt x="8506" y="4548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9" name="Google Shape;39;p3"/>
          <p:cNvSpPr/>
          <p:nvPr/>
        </p:nvSpPr>
        <p:spPr>
          <a:xfrm>
            <a:off x="9318230" y="4209821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1" y="0"/>
                </a:moveTo>
                <a:lnTo>
                  <a:pt x="8506" y="14235"/>
                </a:lnTo>
                <a:lnTo>
                  <a:pt x="16465" y="0"/>
                </a:lnTo>
                <a:lnTo>
                  <a:pt x="11371" y="0"/>
                </a:lnTo>
                <a:lnTo>
                  <a:pt x="8506" y="4548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0" name="Google Shape;40;p3"/>
          <p:cNvSpPr/>
          <p:nvPr/>
        </p:nvSpPr>
        <p:spPr>
          <a:xfrm>
            <a:off x="10029780" y="4209821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1" y="0"/>
                </a:moveTo>
                <a:lnTo>
                  <a:pt x="8551" y="14235"/>
                </a:lnTo>
                <a:lnTo>
                  <a:pt x="16510" y="0"/>
                </a:lnTo>
                <a:lnTo>
                  <a:pt x="11371" y="0"/>
                </a:lnTo>
                <a:lnTo>
                  <a:pt x="8551" y="4548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1" name="Google Shape;41;p3"/>
          <p:cNvSpPr/>
          <p:nvPr/>
        </p:nvSpPr>
        <p:spPr>
          <a:xfrm>
            <a:off x="10743275" y="4209821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06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06" y="4548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2" name="Google Shape;42;p3"/>
          <p:cNvSpPr/>
          <p:nvPr/>
        </p:nvSpPr>
        <p:spPr>
          <a:xfrm>
            <a:off x="11454825" y="4209821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51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4548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3"/>
          <p:cNvSpPr/>
          <p:nvPr/>
        </p:nvSpPr>
        <p:spPr>
          <a:xfrm>
            <a:off x="7156101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4" name="Google Shape;44;p3"/>
          <p:cNvSpPr/>
          <p:nvPr/>
        </p:nvSpPr>
        <p:spPr>
          <a:xfrm>
            <a:off x="7867641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5" name="Google Shape;45;p3"/>
          <p:cNvSpPr/>
          <p:nvPr/>
        </p:nvSpPr>
        <p:spPr>
          <a:xfrm>
            <a:off x="858113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3"/>
          <p:cNvSpPr/>
          <p:nvPr/>
        </p:nvSpPr>
        <p:spPr>
          <a:xfrm>
            <a:off x="9318230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7" name="Google Shape;47;p3"/>
          <p:cNvSpPr/>
          <p:nvPr/>
        </p:nvSpPr>
        <p:spPr>
          <a:xfrm>
            <a:off x="10029780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8" name="Google Shape;48;p3"/>
          <p:cNvSpPr/>
          <p:nvPr/>
        </p:nvSpPr>
        <p:spPr>
          <a:xfrm>
            <a:off x="1074327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9" name="Google Shape;49;p3"/>
          <p:cNvSpPr/>
          <p:nvPr/>
        </p:nvSpPr>
        <p:spPr>
          <a:xfrm>
            <a:off x="114548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0" name="Google Shape;50;p3"/>
          <p:cNvSpPr/>
          <p:nvPr/>
        </p:nvSpPr>
        <p:spPr>
          <a:xfrm>
            <a:off x="7156101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1" name="Google Shape;51;p3"/>
          <p:cNvSpPr/>
          <p:nvPr/>
        </p:nvSpPr>
        <p:spPr>
          <a:xfrm>
            <a:off x="7867641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" name="Google Shape;52;p3"/>
          <p:cNvSpPr/>
          <p:nvPr/>
        </p:nvSpPr>
        <p:spPr>
          <a:xfrm>
            <a:off x="858113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3" name="Google Shape;53;p3"/>
          <p:cNvSpPr/>
          <p:nvPr/>
        </p:nvSpPr>
        <p:spPr>
          <a:xfrm>
            <a:off x="9318230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4" name="Google Shape;54;p3"/>
          <p:cNvSpPr/>
          <p:nvPr/>
        </p:nvSpPr>
        <p:spPr>
          <a:xfrm>
            <a:off x="10029780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5" name="Google Shape;55;p3"/>
          <p:cNvSpPr/>
          <p:nvPr/>
        </p:nvSpPr>
        <p:spPr>
          <a:xfrm>
            <a:off x="1074327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6" name="Google Shape;56;p3"/>
          <p:cNvSpPr/>
          <p:nvPr/>
        </p:nvSpPr>
        <p:spPr>
          <a:xfrm>
            <a:off x="114548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7" name="Google Shape;57;p3"/>
          <p:cNvSpPr/>
          <p:nvPr/>
        </p:nvSpPr>
        <p:spPr>
          <a:xfrm>
            <a:off x="7156101" y="649097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6" y="0"/>
                </a:moveTo>
                <a:lnTo>
                  <a:pt x="0" y="14190"/>
                </a:lnTo>
                <a:lnTo>
                  <a:pt x="5685" y="14190"/>
                </a:lnTo>
                <a:lnTo>
                  <a:pt x="8505" y="9096"/>
                </a:lnTo>
                <a:lnTo>
                  <a:pt x="11370" y="14190"/>
                </a:lnTo>
                <a:lnTo>
                  <a:pt x="17055" y="14190"/>
                </a:lnTo>
                <a:lnTo>
                  <a:pt x="909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8" name="Google Shape;58;p3"/>
          <p:cNvSpPr/>
          <p:nvPr/>
        </p:nvSpPr>
        <p:spPr>
          <a:xfrm>
            <a:off x="7867607" y="649097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9" name="Google Shape;59;p3"/>
          <p:cNvSpPr/>
          <p:nvPr/>
        </p:nvSpPr>
        <p:spPr>
          <a:xfrm>
            <a:off x="8581103" y="649097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06" y="9096"/>
                </a:lnTo>
                <a:lnTo>
                  <a:pt x="11917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" name="Google Shape;60;p3"/>
          <p:cNvSpPr/>
          <p:nvPr/>
        </p:nvSpPr>
        <p:spPr>
          <a:xfrm>
            <a:off x="9318196" y="649097"/>
            <a:ext cx="711617" cy="604825"/>
          </a:xfrm>
          <a:custGeom>
            <a:avLst/>
            <a:gdLst/>
            <a:ahLst/>
            <a:cxnLst/>
            <a:rect l="l" t="t" r="r" b="b"/>
            <a:pathLst>
              <a:path w="16465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6465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" name="Google Shape;61;p3"/>
          <p:cNvSpPr/>
          <p:nvPr/>
        </p:nvSpPr>
        <p:spPr>
          <a:xfrm>
            <a:off x="10029745" y="649097"/>
            <a:ext cx="713563" cy="604825"/>
          </a:xfrm>
          <a:custGeom>
            <a:avLst/>
            <a:gdLst/>
            <a:ahLst/>
            <a:cxnLst/>
            <a:rect l="l" t="t" r="r" b="b"/>
            <a:pathLst>
              <a:path w="16510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6510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3"/>
          <p:cNvSpPr/>
          <p:nvPr/>
        </p:nvSpPr>
        <p:spPr>
          <a:xfrm>
            <a:off x="10743241" y="649097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3" name="Google Shape;63;p3"/>
          <p:cNvSpPr/>
          <p:nvPr/>
        </p:nvSpPr>
        <p:spPr>
          <a:xfrm>
            <a:off x="11454791" y="649097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4" name="Google Shape;64;p3"/>
          <p:cNvSpPr/>
          <p:nvPr/>
        </p:nvSpPr>
        <p:spPr>
          <a:xfrm>
            <a:off x="7156101" y="-6067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5139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5" name="Google Shape;65;p3"/>
          <p:cNvSpPr/>
          <p:nvPr/>
        </p:nvSpPr>
        <p:spPr>
          <a:xfrm>
            <a:off x="7867607" y="-6067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5139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6" name="Google Shape;66;p3"/>
          <p:cNvSpPr/>
          <p:nvPr/>
        </p:nvSpPr>
        <p:spPr>
          <a:xfrm>
            <a:off x="8581103" y="-6067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9097" y="14235"/>
                </a:lnTo>
                <a:lnTo>
                  <a:pt x="17056" y="0"/>
                </a:lnTo>
                <a:lnTo>
                  <a:pt x="11917" y="0"/>
                </a:lnTo>
                <a:lnTo>
                  <a:pt x="8506" y="5139"/>
                </a:lnTo>
                <a:lnTo>
                  <a:pt x="568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7" name="Google Shape;67;p3"/>
          <p:cNvSpPr/>
          <p:nvPr/>
        </p:nvSpPr>
        <p:spPr>
          <a:xfrm>
            <a:off x="9318196" y="-6067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1" y="0"/>
                </a:moveTo>
                <a:lnTo>
                  <a:pt x="8506" y="14235"/>
                </a:lnTo>
                <a:lnTo>
                  <a:pt x="16465" y="0"/>
                </a:lnTo>
                <a:lnTo>
                  <a:pt x="11371" y="0"/>
                </a:lnTo>
                <a:lnTo>
                  <a:pt x="8506" y="5139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8" name="Google Shape;68;p3"/>
          <p:cNvSpPr/>
          <p:nvPr/>
        </p:nvSpPr>
        <p:spPr>
          <a:xfrm>
            <a:off x="10029745" y="-6067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1" y="0"/>
                </a:moveTo>
                <a:lnTo>
                  <a:pt x="8551" y="14235"/>
                </a:lnTo>
                <a:lnTo>
                  <a:pt x="16510" y="0"/>
                </a:lnTo>
                <a:lnTo>
                  <a:pt x="11371" y="0"/>
                </a:lnTo>
                <a:lnTo>
                  <a:pt x="8551" y="5139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9" name="Google Shape;69;p3"/>
          <p:cNvSpPr/>
          <p:nvPr/>
        </p:nvSpPr>
        <p:spPr>
          <a:xfrm>
            <a:off x="10743241" y="-6067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06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06" y="5139"/>
                </a:lnTo>
                <a:lnTo>
                  <a:pt x="509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" name="Google Shape;70;p3"/>
          <p:cNvSpPr/>
          <p:nvPr/>
        </p:nvSpPr>
        <p:spPr>
          <a:xfrm>
            <a:off x="11454791" y="-6067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1" y="0"/>
                </a:moveTo>
                <a:lnTo>
                  <a:pt x="8551" y="14235"/>
                </a:lnTo>
                <a:lnTo>
                  <a:pt x="17056" y="0"/>
                </a:lnTo>
                <a:lnTo>
                  <a:pt x="11371" y="0"/>
                </a:lnTo>
                <a:lnTo>
                  <a:pt x="8551" y="5139"/>
                </a:lnTo>
                <a:lnTo>
                  <a:pt x="5140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1" name="Google Shape;71;p3"/>
          <p:cNvSpPr/>
          <p:nvPr/>
        </p:nvSpPr>
        <p:spPr>
          <a:xfrm>
            <a:off x="7156103" y="3447085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6" y="0"/>
                </a:moveTo>
                <a:lnTo>
                  <a:pt x="0" y="14190"/>
                </a:lnTo>
                <a:lnTo>
                  <a:pt x="5685" y="14190"/>
                </a:lnTo>
                <a:lnTo>
                  <a:pt x="8505" y="9096"/>
                </a:lnTo>
                <a:lnTo>
                  <a:pt x="11370" y="14190"/>
                </a:lnTo>
                <a:lnTo>
                  <a:pt x="17055" y="14190"/>
                </a:lnTo>
                <a:lnTo>
                  <a:pt x="909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2" name="Google Shape;72;p3"/>
          <p:cNvSpPr/>
          <p:nvPr/>
        </p:nvSpPr>
        <p:spPr>
          <a:xfrm>
            <a:off x="7867575" y="3447085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3" name="Google Shape;73;p3"/>
          <p:cNvSpPr/>
          <p:nvPr/>
        </p:nvSpPr>
        <p:spPr>
          <a:xfrm>
            <a:off x="8581071" y="3447085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06" y="9096"/>
                </a:lnTo>
                <a:lnTo>
                  <a:pt x="11917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4" name="Google Shape;74;p3"/>
          <p:cNvSpPr/>
          <p:nvPr/>
        </p:nvSpPr>
        <p:spPr>
          <a:xfrm>
            <a:off x="9318164" y="3447085"/>
            <a:ext cx="711617" cy="604825"/>
          </a:xfrm>
          <a:custGeom>
            <a:avLst/>
            <a:gdLst/>
            <a:ahLst/>
            <a:cxnLst/>
            <a:rect l="l" t="t" r="r" b="b"/>
            <a:pathLst>
              <a:path w="16465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6465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5" name="Google Shape;75;p3"/>
          <p:cNvSpPr/>
          <p:nvPr/>
        </p:nvSpPr>
        <p:spPr>
          <a:xfrm>
            <a:off x="10029713" y="3447085"/>
            <a:ext cx="713563" cy="604825"/>
          </a:xfrm>
          <a:custGeom>
            <a:avLst/>
            <a:gdLst/>
            <a:ahLst/>
            <a:cxnLst/>
            <a:rect l="l" t="t" r="r" b="b"/>
            <a:pathLst>
              <a:path w="16510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6510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6" name="Google Shape;76;p3"/>
          <p:cNvSpPr/>
          <p:nvPr/>
        </p:nvSpPr>
        <p:spPr>
          <a:xfrm>
            <a:off x="10743208" y="3447085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" name="Google Shape;77;p3"/>
          <p:cNvSpPr/>
          <p:nvPr/>
        </p:nvSpPr>
        <p:spPr>
          <a:xfrm>
            <a:off x="11454759" y="3447085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3"/>
          <p:cNvSpPr/>
          <p:nvPr/>
        </p:nvSpPr>
        <p:spPr>
          <a:xfrm>
            <a:off x="7156103" y="48460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6" y="0"/>
                </a:moveTo>
                <a:lnTo>
                  <a:pt x="0" y="14190"/>
                </a:lnTo>
                <a:lnTo>
                  <a:pt x="5685" y="14190"/>
                </a:lnTo>
                <a:lnTo>
                  <a:pt x="8505" y="9096"/>
                </a:lnTo>
                <a:lnTo>
                  <a:pt x="11370" y="14190"/>
                </a:lnTo>
                <a:lnTo>
                  <a:pt x="17055" y="14190"/>
                </a:lnTo>
                <a:lnTo>
                  <a:pt x="909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9" name="Google Shape;79;p3"/>
          <p:cNvSpPr/>
          <p:nvPr/>
        </p:nvSpPr>
        <p:spPr>
          <a:xfrm>
            <a:off x="7867575" y="48460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0" name="Google Shape;80;p3"/>
          <p:cNvSpPr/>
          <p:nvPr/>
        </p:nvSpPr>
        <p:spPr>
          <a:xfrm>
            <a:off x="8581071" y="48460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9097" y="0"/>
                </a:moveTo>
                <a:lnTo>
                  <a:pt x="1" y="14190"/>
                </a:lnTo>
                <a:lnTo>
                  <a:pt x="5686" y="14190"/>
                </a:lnTo>
                <a:lnTo>
                  <a:pt x="8506" y="9096"/>
                </a:lnTo>
                <a:lnTo>
                  <a:pt x="11917" y="14190"/>
                </a:lnTo>
                <a:lnTo>
                  <a:pt x="17056" y="14190"/>
                </a:lnTo>
                <a:lnTo>
                  <a:pt x="9097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1" name="Google Shape;81;p3"/>
          <p:cNvSpPr/>
          <p:nvPr/>
        </p:nvSpPr>
        <p:spPr>
          <a:xfrm>
            <a:off x="9318164" y="4846068"/>
            <a:ext cx="711617" cy="604825"/>
          </a:xfrm>
          <a:custGeom>
            <a:avLst/>
            <a:gdLst/>
            <a:ahLst/>
            <a:cxnLst/>
            <a:rect l="l" t="t" r="r" b="b"/>
            <a:pathLst>
              <a:path w="16465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6465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" name="Google Shape;82;p3"/>
          <p:cNvSpPr/>
          <p:nvPr/>
        </p:nvSpPr>
        <p:spPr>
          <a:xfrm>
            <a:off x="10029713" y="4846068"/>
            <a:ext cx="713563" cy="604825"/>
          </a:xfrm>
          <a:custGeom>
            <a:avLst/>
            <a:gdLst/>
            <a:ahLst/>
            <a:cxnLst/>
            <a:rect l="l" t="t" r="r" b="b"/>
            <a:pathLst>
              <a:path w="16510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6510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3" name="Google Shape;83;p3"/>
          <p:cNvSpPr/>
          <p:nvPr/>
        </p:nvSpPr>
        <p:spPr>
          <a:xfrm>
            <a:off x="10743208" y="48460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06" y="0"/>
                </a:moveTo>
                <a:lnTo>
                  <a:pt x="1" y="14190"/>
                </a:lnTo>
                <a:lnTo>
                  <a:pt x="5095" y="14190"/>
                </a:lnTo>
                <a:lnTo>
                  <a:pt x="8506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06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4" name="Google Shape;84;p3"/>
          <p:cNvSpPr/>
          <p:nvPr/>
        </p:nvSpPr>
        <p:spPr>
          <a:xfrm>
            <a:off x="11454759" y="4846068"/>
            <a:ext cx="737160" cy="604825"/>
          </a:xfrm>
          <a:custGeom>
            <a:avLst/>
            <a:gdLst/>
            <a:ahLst/>
            <a:cxnLst/>
            <a:rect l="l" t="t" r="r" b="b"/>
            <a:pathLst>
              <a:path w="17056" h="14190" extrusionOk="0">
                <a:moveTo>
                  <a:pt x="8551" y="0"/>
                </a:moveTo>
                <a:lnTo>
                  <a:pt x="1" y="14190"/>
                </a:lnTo>
                <a:lnTo>
                  <a:pt x="5140" y="14190"/>
                </a:lnTo>
                <a:lnTo>
                  <a:pt x="8551" y="9096"/>
                </a:lnTo>
                <a:lnTo>
                  <a:pt x="11371" y="14190"/>
                </a:lnTo>
                <a:lnTo>
                  <a:pt x="17056" y="14190"/>
                </a:lnTo>
                <a:lnTo>
                  <a:pt x="8551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849743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bg>
      <p:bgPr>
        <a:solidFill>
          <a:schemeClr val="dk2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7"/>
          <p:cNvSpPr txBox="1">
            <a:spLocks noGrp="1"/>
          </p:cNvSpPr>
          <p:nvPr>
            <p:ph type="title"/>
          </p:nvPr>
        </p:nvSpPr>
        <p:spPr>
          <a:xfrm>
            <a:off x="1377433" y="2666733"/>
            <a:ext cx="4341200" cy="38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 b="1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Barlow Condensed"/>
              <a:buNone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98" name="Google Shape;98;p7"/>
          <p:cNvSpPr txBox="1">
            <a:spLocks noGrp="1"/>
          </p:cNvSpPr>
          <p:nvPr>
            <p:ph type="body" idx="1"/>
          </p:nvPr>
        </p:nvSpPr>
        <p:spPr>
          <a:xfrm>
            <a:off x="950967" y="3389751"/>
            <a:ext cx="4767600" cy="96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lvl="1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lvl="2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lvl="3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lvl="4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lvl="5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lvl="6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lvl="7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lvl="8" indent="-4233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5703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6820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14"/>
          <p:cNvSpPr txBox="1">
            <a:spLocks noGrp="1"/>
          </p:cNvSpPr>
          <p:nvPr>
            <p:ph type="title"/>
          </p:nvPr>
        </p:nvSpPr>
        <p:spPr>
          <a:xfrm>
            <a:off x="1377433" y="719333"/>
            <a:ext cx="9863600" cy="63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04" name="Google Shape;204;p14"/>
          <p:cNvSpPr txBox="1">
            <a:spLocks noGrp="1"/>
          </p:cNvSpPr>
          <p:nvPr>
            <p:ph type="subTitle" idx="1"/>
          </p:nvPr>
        </p:nvSpPr>
        <p:spPr>
          <a:xfrm>
            <a:off x="2370967" y="22458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14"/>
          <p:cNvSpPr txBox="1">
            <a:spLocks noGrp="1"/>
          </p:cNvSpPr>
          <p:nvPr>
            <p:ph type="subTitle" idx="2"/>
          </p:nvPr>
        </p:nvSpPr>
        <p:spPr>
          <a:xfrm>
            <a:off x="2370967" y="26094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>
                <a:solidFill>
                  <a:srgbClr val="2A2A2A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06" name="Google Shape;206;p14"/>
          <p:cNvSpPr txBox="1">
            <a:spLocks noGrp="1"/>
          </p:cNvSpPr>
          <p:nvPr>
            <p:ph type="subTitle" idx="3"/>
          </p:nvPr>
        </p:nvSpPr>
        <p:spPr>
          <a:xfrm>
            <a:off x="6749441" y="22458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14"/>
          <p:cNvSpPr txBox="1">
            <a:spLocks noGrp="1"/>
          </p:cNvSpPr>
          <p:nvPr>
            <p:ph type="subTitle" idx="4"/>
          </p:nvPr>
        </p:nvSpPr>
        <p:spPr>
          <a:xfrm>
            <a:off x="6749441" y="26094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>
                <a:solidFill>
                  <a:srgbClr val="2A2A2A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08" name="Google Shape;208;p14"/>
          <p:cNvSpPr txBox="1">
            <a:spLocks noGrp="1"/>
          </p:cNvSpPr>
          <p:nvPr>
            <p:ph type="subTitle" idx="5"/>
          </p:nvPr>
        </p:nvSpPr>
        <p:spPr>
          <a:xfrm>
            <a:off x="2370967" y="43972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14"/>
          <p:cNvSpPr txBox="1">
            <a:spLocks noGrp="1"/>
          </p:cNvSpPr>
          <p:nvPr>
            <p:ph type="subTitle" idx="6"/>
          </p:nvPr>
        </p:nvSpPr>
        <p:spPr>
          <a:xfrm>
            <a:off x="2370967" y="47608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>
                <a:solidFill>
                  <a:srgbClr val="2A2A2A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10" name="Google Shape;210;p14"/>
          <p:cNvSpPr txBox="1">
            <a:spLocks noGrp="1"/>
          </p:cNvSpPr>
          <p:nvPr>
            <p:ph type="subTitle" idx="7"/>
          </p:nvPr>
        </p:nvSpPr>
        <p:spPr>
          <a:xfrm>
            <a:off x="6749441" y="43972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14"/>
          <p:cNvSpPr txBox="1">
            <a:spLocks noGrp="1"/>
          </p:cNvSpPr>
          <p:nvPr>
            <p:ph type="subTitle" idx="8"/>
          </p:nvPr>
        </p:nvSpPr>
        <p:spPr>
          <a:xfrm>
            <a:off x="6749441" y="4760800"/>
            <a:ext cx="3071600" cy="46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A2A2A"/>
              </a:buClr>
              <a:buSzPts val="1400"/>
              <a:buFont typeface="Barlow Condensed"/>
              <a:buNone/>
              <a:defRPr sz="1867">
                <a:solidFill>
                  <a:srgbClr val="2A2A2A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SzPts val="1400"/>
              <a:buFont typeface="Barlow Condensed"/>
              <a:buNone/>
              <a:defRPr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90962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3">
  <p:cSld name="Title and three columns 3">
    <p:bg>
      <p:bgPr>
        <a:solidFill>
          <a:srgbClr val="0070C0"/>
        </a:solidFill>
        <a:effectLst/>
      </p:bgPr>
    </p:bg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20"/>
          <p:cNvSpPr txBox="1">
            <a:spLocks noGrp="1"/>
          </p:cNvSpPr>
          <p:nvPr>
            <p:ph type="title"/>
          </p:nvPr>
        </p:nvSpPr>
        <p:spPr>
          <a:xfrm>
            <a:off x="1377433" y="719333"/>
            <a:ext cx="9965200" cy="69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Barlow Condensed"/>
              <a:buNone/>
              <a:defRPr b="1"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1" name="Google Shape;291;p20"/>
          <p:cNvSpPr txBox="1">
            <a:spLocks noGrp="1"/>
          </p:cNvSpPr>
          <p:nvPr>
            <p:ph type="subTitle" idx="1"/>
          </p:nvPr>
        </p:nvSpPr>
        <p:spPr>
          <a:xfrm>
            <a:off x="4851989" y="3265349"/>
            <a:ext cx="2488000" cy="10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2" name="Google Shape;292;p20"/>
          <p:cNvSpPr txBox="1">
            <a:spLocks noGrp="1"/>
          </p:cNvSpPr>
          <p:nvPr>
            <p:ph type="subTitle" idx="2"/>
          </p:nvPr>
        </p:nvSpPr>
        <p:spPr>
          <a:xfrm>
            <a:off x="8753033" y="3265349"/>
            <a:ext cx="2488000" cy="10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3" name="Google Shape;293;p20"/>
          <p:cNvSpPr txBox="1">
            <a:spLocks noGrp="1"/>
          </p:cNvSpPr>
          <p:nvPr>
            <p:ph type="subTitle" idx="3"/>
          </p:nvPr>
        </p:nvSpPr>
        <p:spPr>
          <a:xfrm>
            <a:off x="950967" y="3265349"/>
            <a:ext cx="2488000" cy="108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400"/>
              <a:buFont typeface="Barlow Condensed"/>
              <a:buNone/>
              <a:defRPr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4" name="Google Shape;294;p20"/>
          <p:cNvSpPr txBox="1">
            <a:spLocks noGrp="1"/>
          </p:cNvSpPr>
          <p:nvPr>
            <p:ph type="subTitle" idx="4"/>
          </p:nvPr>
        </p:nvSpPr>
        <p:spPr>
          <a:xfrm>
            <a:off x="4851989" y="2803667"/>
            <a:ext cx="2488000" cy="44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5" name="Google Shape;295;p20"/>
          <p:cNvSpPr txBox="1">
            <a:spLocks noGrp="1"/>
          </p:cNvSpPr>
          <p:nvPr>
            <p:ph type="subTitle" idx="5"/>
          </p:nvPr>
        </p:nvSpPr>
        <p:spPr>
          <a:xfrm>
            <a:off x="8753033" y="2803667"/>
            <a:ext cx="2488000" cy="44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296" name="Google Shape;296;p20"/>
          <p:cNvSpPr txBox="1">
            <a:spLocks noGrp="1"/>
          </p:cNvSpPr>
          <p:nvPr>
            <p:ph type="subTitle" idx="6"/>
          </p:nvPr>
        </p:nvSpPr>
        <p:spPr>
          <a:xfrm>
            <a:off x="950967" y="2803667"/>
            <a:ext cx="2488000" cy="44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algn="ctr" rtl="0"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algn="ctr" rtl="0"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800"/>
              <a:buFont typeface="Barlow Condensed"/>
              <a:buNone/>
              <a:defRPr sz="24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73662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">
  <p:cSld name="Numbers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22"/>
          <p:cNvSpPr txBox="1">
            <a:spLocks noGrp="1"/>
          </p:cNvSpPr>
          <p:nvPr>
            <p:ph type="title"/>
          </p:nvPr>
        </p:nvSpPr>
        <p:spPr>
          <a:xfrm>
            <a:off x="1377433" y="719333"/>
            <a:ext cx="9863600" cy="7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22"/>
          <p:cNvSpPr txBox="1">
            <a:spLocks noGrp="1"/>
          </p:cNvSpPr>
          <p:nvPr>
            <p:ph type="title" idx="2" hasCustomPrompt="1"/>
          </p:nvPr>
        </p:nvSpPr>
        <p:spPr>
          <a:xfrm>
            <a:off x="1701867" y="2356267"/>
            <a:ext cx="1548800" cy="14232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311" name="Google Shape;311;p22"/>
          <p:cNvSpPr txBox="1">
            <a:spLocks noGrp="1"/>
          </p:cNvSpPr>
          <p:nvPr>
            <p:ph type="subTitle" idx="1"/>
          </p:nvPr>
        </p:nvSpPr>
        <p:spPr>
          <a:xfrm>
            <a:off x="947867" y="4675013"/>
            <a:ext cx="3056800" cy="364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Barlow Condensed"/>
              <a:buNone/>
              <a:defRPr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2pPr>
            <a:lvl3pPr lvl="2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3pPr>
            <a:lvl4pPr lvl="3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4pPr>
            <a:lvl5pPr lvl="4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5pPr>
            <a:lvl6pPr lvl="5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6pPr>
            <a:lvl7pPr lvl="6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7pPr>
            <a:lvl8pPr lvl="7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8pPr>
            <a:lvl9pPr lvl="8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2" name="Google Shape;312;p22"/>
          <p:cNvSpPr txBox="1">
            <a:spLocks noGrp="1"/>
          </p:cNvSpPr>
          <p:nvPr>
            <p:ph type="subTitle" idx="3"/>
          </p:nvPr>
        </p:nvSpPr>
        <p:spPr>
          <a:xfrm>
            <a:off x="947867" y="5181433"/>
            <a:ext cx="3056800" cy="68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313" name="Google Shape;313;p22"/>
          <p:cNvSpPr txBox="1">
            <a:spLocks noGrp="1"/>
          </p:cNvSpPr>
          <p:nvPr>
            <p:ph type="title" idx="4" hasCustomPrompt="1"/>
          </p:nvPr>
        </p:nvSpPr>
        <p:spPr>
          <a:xfrm>
            <a:off x="5320051" y="2356267"/>
            <a:ext cx="1548800" cy="14232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314" name="Google Shape;314;p22"/>
          <p:cNvSpPr txBox="1">
            <a:spLocks noGrp="1"/>
          </p:cNvSpPr>
          <p:nvPr>
            <p:ph type="subTitle" idx="5"/>
          </p:nvPr>
        </p:nvSpPr>
        <p:spPr>
          <a:xfrm>
            <a:off x="4566051" y="4675013"/>
            <a:ext cx="3056800" cy="364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Barlow Condensed"/>
              <a:buNone/>
              <a:defRPr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22"/>
          <p:cNvSpPr txBox="1">
            <a:spLocks noGrp="1"/>
          </p:cNvSpPr>
          <p:nvPr>
            <p:ph type="subTitle" idx="6"/>
          </p:nvPr>
        </p:nvSpPr>
        <p:spPr>
          <a:xfrm>
            <a:off x="4566051" y="5181433"/>
            <a:ext cx="3056800" cy="68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316" name="Google Shape;316;p22"/>
          <p:cNvSpPr txBox="1">
            <a:spLocks noGrp="1"/>
          </p:cNvSpPr>
          <p:nvPr>
            <p:ph type="title" idx="7" hasCustomPrompt="1"/>
          </p:nvPr>
        </p:nvSpPr>
        <p:spPr>
          <a:xfrm>
            <a:off x="8938233" y="2356267"/>
            <a:ext cx="1548800" cy="1423200"/>
          </a:xfrm>
          <a:prstGeom prst="rect">
            <a:avLst/>
          </a:prstGeom>
          <a:solidFill>
            <a:srgbClr val="FFFFFF"/>
          </a:solidFill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 b="1">
                <a:solidFill>
                  <a:srgbClr val="34568B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7200"/>
              <a:buNone/>
              <a:defRPr sz="9600"/>
            </a:lvl9pPr>
          </a:lstStyle>
          <a:p>
            <a:r>
              <a:t>xx%</a:t>
            </a:r>
          </a:p>
        </p:txBody>
      </p:sp>
      <p:sp>
        <p:nvSpPr>
          <p:cNvPr id="317" name="Google Shape;317;p22"/>
          <p:cNvSpPr txBox="1">
            <a:spLocks noGrp="1"/>
          </p:cNvSpPr>
          <p:nvPr>
            <p:ph type="subTitle" idx="8"/>
          </p:nvPr>
        </p:nvSpPr>
        <p:spPr>
          <a:xfrm>
            <a:off x="8184233" y="4649900"/>
            <a:ext cx="3056800" cy="364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Barlow Condensed"/>
              <a:buNone/>
              <a:defRPr b="1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None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p22"/>
          <p:cNvSpPr txBox="1">
            <a:spLocks noGrp="1"/>
          </p:cNvSpPr>
          <p:nvPr>
            <p:ph type="subTitle" idx="9"/>
          </p:nvPr>
        </p:nvSpPr>
        <p:spPr>
          <a:xfrm>
            <a:off x="8184233" y="5134033"/>
            <a:ext cx="3056800" cy="6872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 sz="1867">
                <a:solidFill>
                  <a:srgbClr val="FFFFFF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 rtl="0">
              <a:spcBef>
                <a:spcPts val="2133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 rtl="0">
              <a:spcBef>
                <a:spcPts val="2133"/>
              </a:spcBef>
              <a:spcAft>
                <a:spcPts val="2133"/>
              </a:spcAft>
              <a:buClr>
                <a:srgbClr val="000000"/>
              </a:buClr>
              <a:buSzPts val="1400"/>
              <a:buFont typeface="Barlow Condensed"/>
              <a:buNone/>
              <a:defRPr>
                <a:solidFill>
                  <a:srgbClr val="000000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06925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4C4D4-802E-2347-A4FC-6A9012223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25BFDC-A994-AD4B-8006-8BE297E198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B68B0"/>
                </a:solidFill>
              </a:defRPr>
            </a:lvl1pPr>
            <a:lvl2pPr>
              <a:defRPr>
                <a:solidFill>
                  <a:srgbClr val="0B68B0"/>
                </a:solidFill>
              </a:defRPr>
            </a:lvl2pPr>
            <a:lvl3pPr>
              <a:defRPr>
                <a:solidFill>
                  <a:srgbClr val="0B68B0"/>
                </a:solidFill>
              </a:defRPr>
            </a:lvl3pPr>
            <a:lvl4pPr>
              <a:defRPr>
                <a:solidFill>
                  <a:srgbClr val="0B68B0"/>
                </a:solidFill>
              </a:defRPr>
            </a:lvl4pPr>
            <a:lvl5pPr>
              <a:defRPr>
                <a:solidFill>
                  <a:srgbClr val="0B68B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439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0815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280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788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80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54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926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00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3603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739E52-70EE-4FE3-8A37-B1F0D151FF1C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452D87F-745A-470C-9038-C41B9CA84F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437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A8BCBE-CC95-49F0-80C9-622DEC8DE5D6}" type="datetimeFigureOut">
              <a:rPr lang="en-US" smtClean="0"/>
              <a:t>7/15/2022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0F0220-ECE5-4684-8AE8-433BB7BC218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401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Barlow Condensed"/>
              <a:buNone/>
              <a:defRPr sz="2800" b="1">
                <a:solidFill>
                  <a:schemeClr val="dk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Barlow Condensed"/>
              <a:buChar char="●"/>
              <a:defRPr sz="1800"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○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■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●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○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■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●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Barlow Condensed"/>
              <a:buChar char="○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Barlow Condensed"/>
              <a:buChar char="■"/>
              <a:defRPr>
                <a:solidFill>
                  <a:schemeClr val="dk2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3921178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EA4335"/>
          </p15:clr>
        </p15:guide>
        <p15:guide id="2" pos="5760">
          <p15:clr>
            <a:srgbClr val="EA4335"/>
          </p15:clr>
        </p15:guide>
        <p15:guide id="3">
          <p15:clr>
            <a:srgbClr val="EA4335"/>
          </p15:clr>
        </p15:guide>
        <p15:guide id="4" pos="449">
          <p15:clr>
            <a:srgbClr val="EA4335"/>
          </p15:clr>
        </p15:guide>
        <p15:guide id="5" pos="5311">
          <p15:clr>
            <a:srgbClr val="EA4335"/>
          </p15:clr>
        </p15:guide>
        <p15:guide id="6" orient="horz" pos="1620">
          <p15:clr>
            <a:srgbClr val="EA4335"/>
          </p15:clr>
        </p15:guide>
        <p15:guide id="7" orient="horz" pos="340">
          <p15:clr>
            <a:srgbClr val="EA4335"/>
          </p15:clr>
        </p15:guide>
        <p15:guide id="8" orient="horz">
          <p15:clr>
            <a:srgbClr val="EA4335"/>
          </p15:clr>
        </p15:guide>
        <p15:guide id="9" orient="horz" pos="2903">
          <p15:clr>
            <a:srgbClr val="EA4335"/>
          </p15:clr>
        </p15:guide>
        <p15:guide id="10" orient="horz" pos="3237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6.jpeg"/><Relationship Id="rId4" Type="http://schemas.openxmlformats.org/officeDocument/2006/relationships/image" Target="../media/image5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2.svg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svg"/><Relationship Id="rId2" Type="http://schemas.openxmlformats.org/officeDocument/2006/relationships/tags" Target="../tags/tag2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pn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23" Type="http://schemas.openxmlformats.org/officeDocument/2006/relationships/image" Target="../media/image24.svg"/><Relationship Id="rId10" Type="http://schemas.openxmlformats.org/officeDocument/2006/relationships/image" Target="../media/image11.png"/><Relationship Id="rId19" Type="http://schemas.openxmlformats.org/officeDocument/2006/relationships/image" Target="../media/image20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3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37.svg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10" Type="http://schemas.openxmlformats.org/officeDocument/2006/relationships/image" Target="../media/image39.svg"/><Relationship Id="rId4" Type="http://schemas.openxmlformats.org/officeDocument/2006/relationships/image" Target="../media/image42.svg"/><Relationship Id="rId9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06955" y="2668438"/>
            <a:ext cx="11178073" cy="1611762"/>
          </a:xfrm>
        </p:spPr>
        <p:txBody>
          <a:bodyPr>
            <a:noAutofit/>
          </a:bodyPr>
          <a:lstStyle/>
          <a:p>
            <a:pPr algn="ctr"/>
            <a:r>
              <a:rPr lang="en-US" sz="5400" dirty="0">
                <a:latin typeface="Europa-Bold" panose="02000000000000000000" pitchFamily="2" charset="0"/>
              </a:rPr>
              <a:t>Fiji Higher Education Forum</a:t>
            </a:r>
            <a:br>
              <a:rPr lang="en-US" sz="4800" dirty="0">
                <a:latin typeface="Europa-Bold" panose="02000000000000000000" pitchFamily="2" charset="0"/>
              </a:rPr>
            </a:br>
            <a:r>
              <a:rPr lang="en-US" sz="4800" dirty="0">
                <a:latin typeface="Europa-Bold" panose="02000000000000000000" pitchFamily="2" charset="0"/>
              </a:rPr>
              <a:t>Day 3 – TVET Stakeholders Perspectiv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9469400-CF48-47D9-9B00-6083053258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7B60B3-F72C-4833-BE27-57C6934FCD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578" y="-72026"/>
            <a:ext cx="12320044" cy="693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0451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179714" y="1011749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dirty="0">
                <a:latin typeface="Europa-Bold" panose="02000000000000000000" pitchFamily="2" charset="0"/>
              </a:rPr>
              <a:t>Session 3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332872" y="2164275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800" b="1" dirty="0">
                <a:latin typeface="Europa-Bold" panose="02000000000000000000" pitchFamily="2" charset="0"/>
              </a:rPr>
              <a:t>Thought Leader</a:t>
            </a:r>
            <a:r>
              <a:rPr lang="en-US" sz="2800" dirty="0">
                <a:latin typeface="Europa-Bold" panose="02000000000000000000" pitchFamily="2" charset="0"/>
              </a:rPr>
              <a:t>: </a:t>
            </a:r>
          </a:p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An overarching and enabling TVET Policy environment for All</a:t>
            </a:r>
          </a:p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What does this mean and look like for All?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765876" y="1038501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2" name="Google Shape;5917;p69">
            <a:extLst>
              <a:ext uri="{FF2B5EF4-FFF2-40B4-BE49-F238E27FC236}">
                <a16:creationId xmlns:a16="http://schemas.microsoft.com/office/drawing/2014/main" id="{F05BB180-E826-4924-AE02-6FCB794A8BCA}"/>
              </a:ext>
            </a:extLst>
          </p:cNvPr>
          <p:cNvGrpSpPr/>
          <p:nvPr/>
        </p:nvGrpSpPr>
        <p:grpSpPr>
          <a:xfrm>
            <a:off x="921107" y="2233857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13" name="Google Shape;5918;p69">
              <a:extLst>
                <a:ext uri="{FF2B5EF4-FFF2-40B4-BE49-F238E27FC236}">
                  <a16:creationId xmlns:a16="http://schemas.microsoft.com/office/drawing/2014/main" id="{F7C73701-88E9-409D-AC22-BAFB69CAE98A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5919;p69">
              <a:extLst>
                <a:ext uri="{FF2B5EF4-FFF2-40B4-BE49-F238E27FC236}">
                  <a16:creationId xmlns:a16="http://schemas.microsoft.com/office/drawing/2014/main" id="{EF97B69C-403A-413A-96B4-A2922FB347C6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5920;p69">
              <a:extLst>
                <a:ext uri="{FF2B5EF4-FFF2-40B4-BE49-F238E27FC236}">
                  <a16:creationId xmlns:a16="http://schemas.microsoft.com/office/drawing/2014/main" id="{1B0C1C91-E6E3-4A00-B1D3-90CB9AF6F69C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5921;p69">
              <a:extLst>
                <a:ext uri="{FF2B5EF4-FFF2-40B4-BE49-F238E27FC236}">
                  <a16:creationId xmlns:a16="http://schemas.microsoft.com/office/drawing/2014/main" id="{A21DF40B-6AE0-4167-B2A5-34EF7E145BCD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5922;p69">
              <a:extLst>
                <a:ext uri="{FF2B5EF4-FFF2-40B4-BE49-F238E27FC236}">
                  <a16:creationId xmlns:a16="http://schemas.microsoft.com/office/drawing/2014/main" id="{39128AC4-EBFB-4D48-A97D-E5D58FAEA41E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5923;p69">
              <a:extLst>
                <a:ext uri="{FF2B5EF4-FFF2-40B4-BE49-F238E27FC236}">
                  <a16:creationId xmlns:a16="http://schemas.microsoft.com/office/drawing/2014/main" id="{E92BD2B0-014F-4B10-9B59-C78E27818E64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F88622F-4BD8-49ED-9450-0B084B4316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3" r="6717"/>
          <a:stretch/>
        </p:blipFill>
        <p:spPr>
          <a:xfrm rot="5400000">
            <a:off x="5715000" y="381002"/>
            <a:ext cx="6857999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86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MORNING TEA</a:t>
            </a:r>
            <a:b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</a:br>
            <a:b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</a:br>
            <a: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see you back in 20 minutes</a:t>
            </a:r>
            <a:endParaRPr lang="en-FJ" sz="4100" b="1" dirty="0">
              <a:latin typeface="Europa-Regular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09E9C28-40A3-4069-9D76-A183C0CB9F5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FJ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7BDFA82-26C6-4335-A748-C12CD35308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01" y="1755568"/>
            <a:ext cx="5274324" cy="44213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79539EB-9D66-4C16-9DFC-020F49C0F1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4020" y="-32355"/>
            <a:ext cx="1219200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633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A01B45B-5BAE-464B-AF27-025298CBB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18" y="150125"/>
            <a:ext cx="7513504" cy="1561200"/>
          </a:xfrm>
        </p:spPr>
        <p:txBody>
          <a:bodyPr>
            <a:noAutofit/>
          </a:bodyPr>
          <a:lstStyle/>
          <a:p>
            <a:r>
              <a:rPr lang="en-US" sz="4800" dirty="0">
                <a:latin typeface="Europa-Bold" panose="02000000000000000000" pitchFamily="2" charset="0"/>
              </a:rPr>
              <a:t>Session 4: Panel Discussion 1</a:t>
            </a:r>
            <a:endParaRPr lang="en-AU" sz="4800" b="1" dirty="0">
              <a:latin typeface="Europa-Bold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346291-EDDD-4513-9ECE-37C5FC08139D}"/>
              </a:ext>
            </a:extLst>
          </p:cNvPr>
          <p:cNvSpPr>
            <a:spLocks noGrp="1"/>
          </p:cNvSpPr>
          <p:nvPr>
            <p:ph type="title" idx="2"/>
          </p:nvPr>
        </p:nvSpPr>
        <p:spPr>
          <a:xfrm>
            <a:off x="286438" y="2243940"/>
            <a:ext cx="6754074" cy="1561201"/>
          </a:xfrm>
        </p:spPr>
        <p:txBody>
          <a:bodyPr/>
          <a:lstStyle/>
          <a:p>
            <a:r>
              <a:rPr lang="en-US" sz="3600" dirty="0">
                <a:latin typeface="Europa-Bold" panose="02000000000000000000" pitchFamily="2" charset="0"/>
              </a:rPr>
              <a:t>The enablers of a robust and enabling TVET Policy environment</a:t>
            </a:r>
            <a:endParaRPr lang="en-FJ" sz="3600" dirty="0">
              <a:latin typeface="Europa-Bold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938907-8309-4146-A6ED-BBC7A4E91294}"/>
              </a:ext>
            </a:extLst>
          </p:cNvPr>
          <p:cNvSpPr txBox="1"/>
          <p:nvPr/>
        </p:nvSpPr>
        <p:spPr>
          <a:xfrm>
            <a:off x="286438" y="4337756"/>
            <a:ext cx="593809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latin typeface="Europa-Regular" panose="02000000000000000000" pitchFamily="2" charset="0"/>
              </a:rPr>
              <a:t>Key Question:</a:t>
            </a:r>
          </a:p>
          <a:p>
            <a:endParaRPr lang="en-US" sz="2400" dirty="0">
              <a:latin typeface="Europa-Regular" panose="02000000000000000000" pitchFamily="2" charset="0"/>
            </a:endParaRPr>
          </a:p>
          <a:p>
            <a:r>
              <a:rPr lang="en-US" sz="3200" i="1" dirty="0">
                <a:latin typeface="Europa-Regular" panose="02000000000000000000" pitchFamily="2" charset="0"/>
              </a:rPr>
              <a:t>What key areas should the National TVET Policy </a:t>
            </a:r>
          </a:p>
          <a:p>
            <a:r>
              <a:rPr lang="en-US" sz="3200" i="1" dirty="0">
                <a:latin typeface="Europa-Regular" panose="02000000000000000000" pitchFamily="2" charset="0"/>
              </a:rPr>
              <a:t>hope to address and why?</a:t>
            </a:r>
          </a:p>
        </p:txBody>
      </p:sp>
    </p:spTree>
    <p:extLst>
      <p:ext uri="{BB962C8B-B14F-4D97-AF65-F5344CB8AC3E}">
        <p14:creationId xmlns:p14="http://schemas.microsoft.com/office/powerpoint/2010/main" val="34262494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Lunch Break</a:t>
            </a:r>
            <a:b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</a:br>
            <a:b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</a:br>
            <a:r>
              <a:rPr lang="en-AU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See you back in an hour!</a:t>
            </a:r>
            <a:endParaRPr lang="en-FJ" sz="4100" b="1" dirty="0">
              <a:latin typeface="Europa-Regular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005FBA65-CCAA-4177-B3A6-0FA0A407E2B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751529" y="1825625"/>
            <a:ext cx="3468796" cy="37425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71D984E-1262-4C52-864B-8C1280A0DB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4020" y="-32355"/>
            <a:ext cx="1219200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430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48192" y="3474199"/>
            <a:ext cx="9295615" cy="813880"/>
          </a:xfrm>
        </p:spPr>
        <p:txBody>
          <a:bodyPr/>
          <a:lstStyle/>
          <a:p>
            <a:pPr marL="0" indent="0" algn="ctr">
              <a:buNone/>
            </a:pPr>
            <a:r>
              <a:rPr lang="en-US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PARTICIPANT ACTIVITY</a:t>
            </a:r>
            <a:endParaRPr lang="en-FJ" sz="4100" b="1" dirty="0">
              <a:latin typeface="Europa-Regular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D984E-1262-4C52-864B-8C1280A0D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4020" y="-32355"/>
            <a:ext cx="1219200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145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46291-EDDD-4513-9ECE-37C5FC08139D}"/>
              </a:ext>
            </a:extLst>
          </p:cNvPr>
          <p:cNvSpPr>
            <a:spLocks noGrp="1"/>
          </p:cNvSpPr>
          <p:nvPr>
            <p:ph type="title" idx="2"/>
          </p:nvPr>
        </p:nvSpPr>
        <p:spPr>
          <a:xfrm>
            <a:off x="157908" y="1867799"/>
            <a:ext cx="6754074" cy="1561201"/>
          </a:xfrm>
        </p:spPr>
        <p:txBody>
          <a:bodyPr/>
          <a:lstStyle/>
          <a:p>
            <a:r>
              <a:rPr lang="en-US" sz="3600" dirty="0">
                <a:latin typeface="Europa-Bold" panose="02000000000000000000" pitchFamily="2" charset="0"/>
              </a:rPr>
              <a:t>Beneficiaries of a robust and enabling TVET Policy environment</a:t>
            </a:r>
            <a:endParaRPr lang="en-FJ" sz="3600" dirty="0">
              <a:latin typeface="Europa-Bold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938907-8309-4146-A6ED-BBC7A4E91294}"/>
              </a:ext>
            </a:extLst>
          </p:cNvPr>
          <p:cNvSpPr txBox="1"/>
          <p:nvPr/>
        </p:nvSpPr>
        <p:spPr>
          <a:xfrm>
            <a:off x="157908" y="3168445"/>
            <a:ext cx="593809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latin typeface="Europa-Regular" panose="02000000000000000000" pitchFamily="2" charset="0"/>
              </a:rPr>
              <a:t>Key Questions:</a:t>
            </a:r>
          </a:p>
          <a:p>
            <a:endParaRPr lang="en-US" sz="2400" dirty="0">
              <a:latin typeface="Europa-Regular" panose="02000000000000000000" pitchFamily="2" charset="0"/>
            </a:endParaRPr>
          </a:p>
          <a:p>
            <a:r>
              <a:rPr lang="en-US" sz="2400" i="1" dirty="0">
                <a:latin typeface="Europa-Regular" panose="02000000000000000000" pitchFamily="2" charset="0"/>
              </a:rPr>
              <a:t>Why TVET training? What are the current challenges going into TVET training and coming out and into employment?</a:t>
            </a:r>
          </a:p>
          <a:p>
            <a:endParaRPr lang="en-US" sz="2400" i="1" dirty="0">
              <a:latin typeface="Europa-Regular" panose="02000000000000000000" pitchFamily="2" charset="0"/>
            </a:endParaRPr>
          </a:p>
          <a:p>
            <a:r>
              <a:rPr lang="en-US" sz="2400" i="1" dirty="0">
                <a:latin typeface="Europa-Regular" panose="02000000000000000000" pitchFamily="2" charset="0"/>
              </a:rPr>
              <a:t>How should the National TVET Policy be addressing to ensure clear training and employment pathways?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4311A1D-647F-4E0A-AAE5-38DAF884C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5545"/>
            <a:ext cx="8039360" cy="1561200"/>
          </a:xfrm>
        </p:spPr>
        <p:txBody>
          <a:bodyPr>
            <a:noAutofit/>
          </a:bodyPr>
          <a:lstStyle/>
          <a:p>
            <a:r>
              <a:rPr lang="en-US" sz="4800" dirty="0">
                <a:latin typeface="Europa-Bold" panose="02000000000000000000" pitchFamily="2" charset="0"/>
              </a:rPr>
              <a:t>Session 4: Panel </a:t>
            </a:r>
            <a:br>
              <a:rPr lang="en-US" sz="4800" dirty="0">
                <a:latin typeface="Europa-Bold" panose="02000000000000000000" pitchFamily="2" charset="0"/>
              </a:rPr>
            </a:br>
            <a:r>
              <a:rPr lang="en-US" sz="4800" dirty="0">
                <a:latin typeface="Europa-Bold" panose="02000000000000000000" pitchFamily="2" charset="0"/>
              </a:rPr>
              <a:t>Discussion 2</a:t>
            </a:r>
            <a:endParaRPr lang="en-AU" sz="4800" b="1" dirty="0">
              <a:latin typeface="Europa-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864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6341F79-1593-49FE-926F-606B5A13B1AB}"/>
              </a:ext>
            </a:extLst>
          </p:cNvPr>
          <p:cNvSpPr txBox="1">
            <a:spLocks/>
          </p:cNvSpPr>
          <p:nvPr/>
        </p:nvSpPr>
        <p:spPr>
          <a:xfrm>
            <a:off x="476451" y="1054091"/>
            <a:ext cx="11239098" cy="297757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5400" kern="0" dirty="0">
                <a:solidFill>
                  <a:schemeClr val="bg1"/>
                </a:solidFill>
                <a:latin typeface="Europa-Bold" panose="02000000000000000000" pitchFamily="2" charset="0"/>
              </a:rPr>
              <a:t>Meet </a:t>
            </a:r>
            <a:r>
              <a:rPr lang="en-US" sz="5400" kern="0" dirty="0" err="1">
                <a:solidFill>
                  <a:schemeClr val="bg1"/>
                </a:solidFill>
                <a:latin typeface="Europa-Bold" panose="02000000000000000000" pitchFamily="2" charset="0"/>
              </a:rPr>
              <a:t>Mr</a:t>
            </a:r>
            <a:r>
              <a:rPr lang="en-US" sz="5400" kern="0" dirty="0">
                <a:solidFill>
                  <a:schemeClr val="bg1"/>
                </a:solidFill>
                <a:latin typeface="Europa-Bold" panose="02000000000000000000" pitchFamily="2" charset="0"/>
              </a:rPr>
              <a:t> Aseri Tabuawaiwai!</a:t>
            </a:r>
          </a:p>
          <a:p>
            <a:pPr algn="ctr"/>
            <a:endParaRPr lang="en-US" sz="5400" kern="0" dirty="0">
              <a:solidFill>
                <a:schemeClr val="bg1"/>
              </a:solidFill>
              <a:latin typeface="Europa-Bold" panose="02000000000000000000" pitchFamily="2" charset="0"/>
            </a:endParaRPr>
          </a:p>
          <a:p>
            <a:pPr algn="ctr"/>
            <a:r>
              <a:rPr lang="en-US" sz="5400" kern="0" dirty="0">
                <a:solidFill>
                  <a:schemeClr val="bg1"/>
                </a:solidFill>
                <a:latin typeface="Europa-Bold" panose="02000000000000000000" pitchFamily="2" charset="0"/>
              </a:rPr>
              <a:t>National TVET Policy – Local Consultant</a:t>
            </a:r>
          </a:p>
          <a:p>
            <a:pPr algn="ctr"/>
            <a:endParaRPr lang="en-US" sz="5400" kern="0" dirty="0">
              <a:solidFill>
                <a:schemeClr val="bg1"/>
              </a:solidFill>
              <a:latin typeface="Europa-Bold" panose="02000000000000000000" pitchFamily="2" charset="0"/>
            </a:endParaRPr>
          </a:p>
          <a:p>
            <a:pPr algn="ctr"/>
            <a:r>
              <a:rPr lang="en-US" sz="5400" kern="0" dirty="0">
                <a:solidFill>
                  <a:schemeClr val="bg1"/>
                </a:solidFill>
                <a:latin typeface="Europa-Bold" panose="02000000000000000000" pitchFamily="2" charset="0"/>
              </a:rPr>
              <a:t>Email: atabuawaiwai@gmail.com</a:t>
            </a:r>
            <a:endParaRPr lang="en-FJ" sz="5400" kern="0" dirty="0">
              <a:solidFill>
                <a:schemeClr val="bg1"/>
              </a:solidFill>
              <a:latin typeface="Europa-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5847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48192" y="3474199"/>
            <a:ext cx="9295615" cy="813880"/>
          </a:xfrm>
        </p:spPr>
        <p:txBody>
          <a:bodyPr/>
          <a:lstStyle/>
          <a:p>
            <a:pPr marL="0" indent="0" algn="ctr">
              <a:buNone/>
            </a:pPr>
            <a:r>
              <a:rPr lang="en-US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PARTICIPANT ACTIVITY</a:t>
            </a:r>
            <a:endParaRPr lang="en-FJ" sz="4100" b="1" dirty="0">
              <a:latin typeface="Europa-Regular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D984E-1262-4C52-864B-8C1280A0D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4020" y="-32355"/>
            <a:ext cx="1219200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0568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AU" sz="4100" b="1" dirty="0">
                <a:latin typeface="Cambria" panose="02040503050406030204" pitchFamily="18" charset="0"/>
                <a:cs typeface="Times New Roman" panose="02020603050405020304" pitchFamily="18" charset="0"/>
              </a:rPr>
              <a:t>AFTERNOON TEA</a:t>
            </a:r>
            <a:br>
              <a:rPr lang="en-AU" sz="4100" b="1" dirty="0">
                <a:latin typeface="Cambria" panose="02040503050406030204" pitchFamily="18" charset="0"/>
                <a:cs typeface="Times New Roman" panose="02020603050405020304" pitchFamily="18" charset="0"/>
              </a:rPr>
            </a:br>
            <a:br>
              <a:rPr lang="en-AU" sz="4100" b="1" dirty="0">
                <a:latin typeface="Cambria" panose="02040503050406030204" pitchFamily="18" charset="0"/>
                <a:cs typeface="Times New Roman" panose="02020603050405020304" pitchFamily="18" charset="0"/>
              </a:rPr>
            </a:br>
            <a:r>
              <a:rPr lang="en-AU" sz="4100" b="1" dirty="0">
                <a:latin typeface="Cambria" panose="02040503050406030204" pitchFamily="18" charset="0"/>
                <a:cs typeface="Times New Roman" panose="02020603050405020304" pitchFamily="18" charset="0"/>
              </a:rPr>
              <a:t>See you back in 20 minutes</a:t>
            </a:r>
            <a:endParaRPr lang="en-FJ" sz="4100" b="1" dirty="0">
              <a:latin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869FDC85-1472-4C39-B6E0-D8ED6020BA4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711885" y="1690689"/>
            <a:ext cx="4147793" cy="48021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7C8037-D4EF-47C0-8E8D-D2FD1D18C1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4020" y="-32355"/>
            <a:ext cx="1221602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3326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179714" y="1011749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dirty="0">
                <a:latin typeface="Europa-Bold" panose="02000000000000000000" pitchFamily="2" charset="0"/>
              </a:rPr>
              <a:t>Session 7: How can stakeholders best add value? 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217710" y="3169241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Experiences from </a:t>
            </a:r>
            <a:r>
              <a:rPr lang="en-US" sz="2400" dirty="0" err="1">
                <a:latin typeface="Europa-Regular" panose="02000000000000000000" pitchFamily="2" charset="0"/>
              </a:rPr>
              <a:t>Navuso</a:t>
            </a:r>
            <a:r>
              <a:rPr lang="en-US" sz="2400" dirty="0">
                <a:latin typeface="Europa-Regular" panose="02000000000000000000" pitchFamily="2" charset="0"/>
              </a:rPr>
              <a:t> Agriculture Technical Institute (NATI) 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765876" y="1038501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2" name="Google Shape;5917;p69">
            <a:extLst>
              <a:ext uri="{FF2B5EF4-FFF2-40B4-BE49-F238E27FC236}">
                <a16:creationId xmlns:a16="http://schemas.microsoft.com/office/drawing/2014/main" id="{F05BB180-E826-4924-AE02-6FCB794A8BCA}"/>
              </a:ext>
            </a:extLst>
          </p:cNvPr>
          <p:cNvGrpSpPr/>
          <p:nvPr/>
        </p:nvGrpSpPr>
        <p:grpSpPr>
          <a:xfrm>
            <a:off x="675884" y="3480006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13" name="Google Shape;5918;p69">
              <a:extLst>
                <a:ext uri="{FF2B5EF4-FFF2-40B4-BE49-F238E27FC236}">
                  <a16:creationId xmlns:a16="http://schemas.microsoft.com/office/drawing/2014/main" id="{F7C73701-88E9-409D-AC22-BAFB69CAE98A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5919;p69">
              <a:extLst>
                <a:ext uri="{FF2B5EF4-FFF2-40B4-BE49-F238E27FC236}">
                  <a16:creationId xmlns:a16="http://schemas.microsoft.com/office/drawing/2014/main" id="{EF97B69C-403A-413A-96B4-A2922FB347C6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5920;p69">
              <a:extLst>
                <a:ext uri="{FF2B5EF4-FFF2-40B4-BE49-F238E27FC236}">
                  <a16:creationId xmlns:a16="http://schemas.microsoft.com/office/drawing/2014/main" id="{1B0C1C91-E6E3-4A00-B1D3-90CB9AF6F69C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5921;p69">
              <a:extLst>
                <a:ext uri="{FF2B5EF4-FFF2-40B4-BE49-F238E27FC236}">
                  <a16:creationId xmlns:a16="http://schemas.microsoft.com/office/drawing/2014/main" id="{A21DF40B-6AE0-4167-B2A5-34EF7E145BCD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5922;p69">
              <a:extLst>
                <a:ext uri="{FF2B5EF4-FFF2-40B4-BE49-F238E27FC236}">
                  <a16:creationId xmlns:a16="http://schemas.microsoft.com/office/drawing/2014/main" id="{39128AC4-EBFB-4D48-A97D-E5D58FAEA41E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5923;p69">
              <a:extLst>
                <a:ext uri="{FF2B5EF4-FFF2-40B4-BE49-F238E27FC236}">
                  <a16:creationId xmlns:a16="http://schemas.microsoft.com/office/drawing/2014/main" id="{E92BD2B0-014F-4B10-9B59-C78E27818E64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CE82209-F1A5-44B1-895D-29C477FA1C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27"/>
          <a:stretch/>
        </p:blipFill>
        <p:spPr>
          <a:xfrm>
            <a:off x="5123629" y="490228"/>
            <a:ext cx="7068372" cy="587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813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179714" y="1011749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dirty="0">
                <a:latin typeface="Europa-Bold" panose="02000000000000000000" pitchFamily="2" charset="0"/>
              </a:rPr>
              <a:t>Session 1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375041" y="2159768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Welcome &amp; Opening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765876" y="1038501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2" name="Google Shape;5917;p69">
            <a:extLst>
              <a:ext uri="{FF2B5EF4-FFF2-40B4-BE49-F238E27FC236}">
                <a16:creationId xmlns:a16="http://schemas.microsoft.com/office/drawing/2014/main" id="{F05BB180-E826-4924-AE02-6FCB794A8BCA}"/>
              </a:ext>
            </a:extLst>
          </p:cNvPr>
          <p:cNvGrpSpPr/>
          <p:nvPr/>
        </p:nvGrpSpPr>
        <p:grpSpPr>
          <a:xfrm>
            <a:off x="921107" y="2233857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13" name="Google Shape;5918;p69">
              <a:extLst>
                <a:ext uri="{FF2B5EF4-FFF2-40B4-BE49-F238E27FC236}">
                  <a16:creationId xmlns:a16="http://schemas.microsoft.com/office/drawing/2014/main" id="{F7C73701-88E9-409D-AC22-BAFB69CAE98A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5919;p69">
              <a:extLst>
                <a:ext uri="{FF2B5EF4-FFF2-40B4-BE49-F238E27FC236}">
                  <a16:creationId xmlns:a16="http://schemas.microsoft.com/office/drawing/2014/main" id="{EF97B69C-403A-413A-96B4-A2922FB347C6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5920;p69">
              <a:extLst>
                <a:ext uri="{FF2B5EF4-FFF2-40B4-BE49-F238E27FC236}">
                  <a16:creationId xmlns:a16="http://schemas.microsoft.com/office/drawing/2014/main" id="{1B0C1C91-E6E3-4A00-B1D3-90CB9AF6F69C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5921;p69">
              <a:extLst>
                <a:ext uri="{FF2B5EF4-FFF2-40B4-BE49-F238E27FC236}">
                  <a16:creationId xmlns:a16="http://schemas.microsoft.com/office/drawing/2014/main" id="{A21DF40B-6AE0-4167-B2A5-34EF7E145BCD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5922;p69">
              <a:extLst>
                <a:ext uri="{FF2B5EF4-FFF2-40B4-BE49-F238E27FC236}">
                  <a16:creationId xmlns:a16="http://schemas.microsoft.com/office/drawing/2014/main" id="{39128AC4-EBFB-4D48-A97D-E5D58FAEA41E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5923;p69">
              <a:extLst>
                <a:ext uri="{FF2B5EF4-FFF2-40B4-BE49-F238E27FC236}">
                  <a16:creationId xmlns:a16="http://schemas.microsoft.com/office/drawing/2014/main" id="{E92BD2B0-014F-4B10-9B59-C78E27818E64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19" name="Google Shape;5917;p69">
            <a:extLst>
              <a:ext uri="{FF2B5EF4-FFF2-40B4-BE49-F238E27FC236}">
                <a16:creationId xmlns:a16="http://schemas.microsoft.com/office/drawing/2014/main" id="{46FEE440-D8C1-47BC-930F-DCD21D7937E9}"/>
              </a:ext>
            </a:extLst>
          </p:cNvPr>
          <p:cNvGrpSpPr/>
          <p:nvPr/>
        </p:nvGrpSpPr>
        <p:grpSpPr>
          <a:xfrm>
            <a:off x="923599" y="3234629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20" name="Google Shape;5918;p69">
              <a:extLst>
                <a:ext uri="{FF2B5EF4-FFF2-40B4-BE49-F238E27FC236}">
                  <a16:creationId xmlns:a16="http://schemas.microsoft.com/office/drawing/2014/main" id="{47B811C3-A884-4F0E-B1B0-B19CA0909983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Google Shape;5919;p69">
              <a:extLst>
                <a:ext uri="{FF2B5EF4-FFF2-40B4-BE49-F238E27FC236}">
                  <a16:creationId xmlns:a16="http://schemas.microsoft.com/office/drawing/2014/main" id="{F017E85F-28FB-4778-9CDE-40F82E4692D1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Google Shape;5920;p69">
              <a:extLst>
                <a:ext uri="{FF2B5EF4-FFF2-40B4-BE49-F238E27FC236}">
                  <a16:creationId xmlns:a16="http://schemas.microsoft.com/office/drawing/2014/main" id="{CF3840A3-ABCA-43D7-8A11-F99C4AE32288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Google Shape;5921;p69">
              <a:extLst>
                <a:ext uri="{FF2B5EF4-FFF2-40B4-BE49-F238E27FC236}">
                  <a16:creationId xmlns:a16="http://schemas.microsoft.com/office/drawing/2014/main" id="{96D08771-B4AE-473E-9EB5-229DB4221F70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Google Shape;5922;p69">
              <a:extLst>
                <a:ext uri="{FF2B5EF4-FFF2-40B4-BE49-F238E27FC236}">
                  <a16:creationId xmlns:a16="http://schemas.microsoft.com/office/drawing/2014/main" id="{58F50EA7-F84A-4E2F-8CF4-7DF5C9AE40CF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Google Shape;5923;p69">
              <a:extLst>
                <a:ext uri="{FF2B5EF4-FFF2-40B4-BE49-F238E27FC236}">
                  <a16:creationId xmlns:a16="http://schemas.microsoft.com/office/drawing/2014/main" id="{CDB1EE01-A82E-4DB6-B4EC-987FAAA49225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6" name="Google Shape;1178;p55">
            <a:extLst>
              <a:ext uri="{FF2B5EF4-FFF2-40B4-BE49-F238E27FC236}">
                <a16:creationId xmlns:a16="http://schemas.microsoft.com/office/drawing/2014/main" id="{427EF91F-9B5F-4C01-B74C-C0D915556D5B}"/>
              </a:ext>
            </a:extLst>
          </p:cNvPr>
          <p:cNvSpPr txBox="1">
            <a:spLocks/>
          </p:cNvSpPr>
          <p:nvPr/>
        </p:nvSpPr>
        <p:spPr>
          <a:xfrm>
            <a:off x="1345783" y="3125768"/>
            <a:ext cx="3670005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Barlow Condensed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ropa-Regular" panose="02000000000000000000" pitchFamily="2" charset="0"/>
                <a:sym typeface="Barlow Condensed"/>
              </a:rPr>
              <a:t>Fiji TVET Landscape &amp; Dire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EAC591-B28A-4AE8-8DDD-B52B6C14FC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9" r="14612"/>
          <a:stretch/>
        </p:blipFill>
        <p:spPr>
          <a:xfrm rot="5400000">
            <a:off x="5422274" y="16018"/>
            <a:ext cx="6858000" cy="682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989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77A2B0-19AC-4D75-968E-F2862F69B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AU" dirty="0"/>
            </a:br>
            <a:endParaRPr lang="en-AU" sz="5400" i="1" dirty="0">
              <a:solidFill>
                <a:srgbClr val="FF0000"/>
              </a:solidFill>
              <a:latin typeface="Europa-Bold" panose="02000000000000000000" pitchFamily="2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A69A080-FE05-4D58-BF1D-27F40FA55D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48192" y="3474199"/>
            <a:ext cx="9295615" cy="813880"/>
          </a:xfrm>
        </p:spPr>
        <p:txBody>
          <a:bodyPr/>
          <a:lstStyle/>
          <a:p>
            <a:pPr marL="0" indent="0" algn="ctr">
              <a:buNone/>
            </a:pPr>
            <a:r>
              <a:rPr lang="en-US" sz="4100" b="1" dirty="0">
                <a:latin typeface="Europa-Regular" panose="02000000000000000000" pitchFamily="2" charset="0"/>
                <a:cs typeface="Times New Roman" panose="02020603050405020304" pitchFamily="18" charset="0"/>
              </a:rPr>
              <a:t>PARTICIPANT ACTIVITY</a:t>
            </a:r>
            <a:endParaRPr lang="en-FJ" sz="4100" b="1" dirty="0">
              <a:latin typeface="Europa-Regular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1D984E-1262-4C52-864B-8C1280A0D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4020" y="-32355"/>
            <a:ext cx="12192000" cy="16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5079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377433" y="2666733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" dirty="0">
                <a:latin typeface="Europa-Bold" panose="02000000000000000000" pitchFamily="2" charset="0"/>
              </a:rPr>
              <a:t>Closing Remarks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713030" y="4142028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Europa-Regular" panose="02000000000000000000" pitchFamily="2" charset="0"/>
              </a:rPr>
              <a:t>DFAT Representative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918781" y="2698924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" name="Graphic 3" descr="Handshake">
            <a:extLst>
              <a:ext uri="{FF2B5EF4-FFF2-40B4-BE49-F238E27FC236}">
                <a16:creationId xmlns:a16="http://schemas.microsoft.com/office/drawing/2014/main" id="{541411E2-F1DF-4EA9-ADF4-A533DBF360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0064" y="4142028"/>
            <a:ext cx="621997" cy="6219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A6484F-CF30-477A-8736-8DBA0B9921E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9605"/>
          <a:stretch/>
        </p:blipFill>
        <p:spPr>
          <a:xfrm>
            <a:off x="4828626" y="465666"/>
            <a:ext cx="7363374" cy="592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778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179714" y="1011749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dirty="0">
                <a:latin typeface="Europa-Bold" panose="02000000000000000000" pitchFamily="2" charset="0"/>
              </a:rPr>
              <a:t>Session 2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375041" y="2159768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Objectives of the day 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765876" y="1038501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2" name="Picture 1" descr="A person riding a bike down a dirt road&#10;&#10;Description automatically generated">
            <a:extLst>
              <a:ext uri="{FF2B5EF4-FFF2-40B4-BE49-F238E27FC236}">
                <a16:creationId xmlns:a16="http://schemas.microsoft.com/office/drawing/2014/main" id="{3EF0FCDF-FDF2-47D7-A02B-144A6705350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0" t="8926" r="48863" b="7334"/>
          <a:stretch/>
        </p:blipFill>
        <p:spPr>
          <a:xfrm>
            <a:off x="6096001" y="3842"/>
            <a:ext cx="6092585" cy="6854159"/>
          </a:xfrm>
          <a:prstGeom prst="rect">
            <a:avLst/>
          </a:prstGeom>
        </p:spPr>
      </p:pic>
      <p:grpSp>
        <p:nvGrpSpPr>
          <p:cNvPr id="12" name="Google Shape;5917;p69">
            <a:extLst>
              <a:ext uri="{FF2B5EF4-FFF2-40B4-BE49-F238E27FC236}">
                <a16:creationId xmlns:a16="http://schemas.microsoft.com/office/drawing/2014/main" id="{F05BB180-E826-4924-AE02-6FCB794A8BCA}"/>
              </a:ext>
            </a:extLst>
          </p:cNvPr>
          <p:cNvGrpSpPr/>
          <p:nvPr/>
        </p:nvGrpSpPr>
        <p:grpSpPr>
          <a:xfrm>
            <a:off x="921107" y="2233857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13" name="Google Shape;5918;p69">
              <a:extLst>
                <a:ext uri="{FF2B5EF4-FFF2-40B4-BE49-F238E27FC236}">
                  <a16:creationId xmlns:a16="http://schemas.microsoft.com/office/drawing/2014/main" id="{F7C73701-88E9-409D-AC22-BAFB69CAE98A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5919;p69">
              <a:extLst>
                <a:ext uri="{FF2B5EF4-FFF2-40B4-BE49-F238E27FC236}">
                  <a16:creationId xmlns:a16="http://schemas.microsoft.com/office/drawing/2014/main" id="{EF97B69C-403A-413A-96B4-A2922FB347C6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5920;p69">
              <a:extLst>
                <a:ext uri="{FF2B5EF4-FFF2-40B4-BE49-F238E27FC236}">
                  <a16:creationId xmlns:a16="http://schemas.microsoft.com/office/drawing/2014/main" id="{1B0C1C91-E6E3-4A00-B1D3-90CB9AF6F69C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5921;p69">
              <a:extLst>
                <a:ext uri="{FF2B5EF4-FFF2-40B4-BE49-F238E27FC236}">
                  <a16:creationId xmlns:a16="http://schemas.microsoft.com/office/drawing/2014/main" id="{A21DF40B-6AE0-4167-B2A5-34EF7E145BCD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5922;p69">
              <a:extLst>
                <a:ext uri="{FF2B5EF4-FFF2-40B4-BE49-F238E27FC236}">
                  <a16:creationId xmlns:a16="http://schemas.microsoft.com/office/drawing/2014/main" id="{39128AC4-EBFB-4D48-A97D-E5D58FAEA41E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5923;p69">
              <a:extLst>
                <a:ext uri="{FF2B5EF4-FFF2-40B4-BE49-F238E27FC236}">
                  <a16:creationId xmlns:a16="http://schemas.microsoft.com/office/drawing/2014/main" id="{E92BD2B0-014F-4B10-9B59-C78E27818E64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19" name="Google Shape;5917;p69">
            <a:extLst>
              <a:ext uri="{FF2B5EF4-FFF2-40B4-BE49-F238E27FC236}">
                <a16:creationId xmlns:a16="http://schemas.microsoft.com/office/drawing/2014/main" id="{46FEE440-D8C1-47BC-930F-DCD21D7937E9}"/>
              </a:ext>
            </a:extLst>
          </p:cNvPr>
          <p:cNvGrpSpPr/>
          <p:nvPr/>
        </p:nvGrpSpPr>
        <p:grpSpPr>
          <a:xfrm>
            <a:off x="923599" y="3234629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20" name="Google Shape;5918;p69">
              <a:extLst>
                <a:ext uri="{FF2B5EF4-FFF2-40B4-BE49-F238E27FC236}">
                  <a16:creationId xmlns:a16="http://schemas.microsoft.com/office/drawing/2014/main" id="{47B811C3-A884-4F0E-B1B0-B19CA0909983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Google Shape;5919;p69">
              <a:extLst>
                <a:ext uri="{FF2B5EF4-FFF2-40B4-BE49-F238E27FC236}">
                  <a16:creationId xmlns:a16="http://schemas.microsoft.com/office/drawing/2014/main" id="{F017E85F-28FB-4778-9CDE-40F82E4692D1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Google Shape;5920;p69">
              <a:extLst>
                <a:ext uri="{FF2B5EF4-FFF2-40B4-BE49-F238E27FC236}">
                  <a16:creationId xmlns:a16="http://schemas.microsoft.com/office/drawing/2014/main" id="{CF3840A3-ABCA-43D7-8A11-F99C4AE32288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Google Shape;5921;p69">
              <a:extLst>
                <a:ext uri="{FF2B5EF4-FFF2-40B4-BE49-F238E27FC236}">
                  <a16:creationId xmlns:a16="http://schemas.microsoft.com/office/drawing/2014/main" id="{96D08771-B4AE-473E-9EB5-229DB4221F70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Google Shape;5922;p69">
              <a:extLst>
                <a:ext uri="{FF2B5EF4-FFF2-40B4-BE49-F238E27FC236}">
                  <a16:creationId xmlns:a16="http://schemas.microsoft.com/office/drawing/2014/main" id="{58F50EA7-F84A-4E2F-8CF4-7DF5C9AE40CF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Google Shape;5923;p69">
              <a:extLst>
                <a:ext uri="{FF2B5EF4-FFF2-40B4-BE49-F238E27FC236}">
                  <a16:creationId xmlns:a16="http://schemas.microsoft.com/office/drawing/2014/main" id="{CDB1EE01-A82E-4DB6-B4EC-987FAAA49225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6" name="Google Shape;1178;p55">
            <a:extLst>
              <a:ext uri="{FF2B5EF4-FFF2-40B4-BE49-F238E27FC236}">
                <a16:creationId xmlns:a16="http://schemas.microsoft.com/office/drawing/2014/main" id="{427EF91F-9B5F-4C01-B74C-C0D915556D5B}"/>
              </a:ext>
            </a:extLst>
          </p:cNvPr>
          <p:cNvSpPr txBox="1">
            <a:spLocks/>
          </p:cNvSpPr>
          <p:nvPr/>
        </p:nvSpPr>
        <p:spPr>
          <a:xfrm>
            <a:off x="1375041" y="3125768"/>
            <a:ext cx="3670005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0" lvl="0" indent="0">
              <a:buClr>
                <a:srgbClr val="FFFFFF"/>
              </a:buClr>
              <a:buNone/>
            </a:pPr>
            <a:r>
              <a:rPr lang="en-US" sz="24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Review of What Has Happened: </a:t>
            </a:r>
            <a:r>
              <a:rPr lang="en-US" sz="2000" i="1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“How Change Happens - Stakeholders Perspectives”</a:t>
            </a:r>
          </a:p>
        </p:txBody>
      </p:sp>
    </p:spTree>
    <p:extLst>
      <p:ext uri="{BB962C8B-B14F-4D97-AF65-F5344CB8AC3E}">
        <p14:creationId xmlns:p14="http://schemas.microsoft.com/office/powerpoint/2010/main" val="3506435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Google Shape;1177;p55"/>
          <p:cNvSpPr txBox="1">
            <a:spLocks noGrp="1"/>
          </p:cNvSpPr>
          <p:nvPr>
            <p:ph type="title"/>
          </p:nvPr>
        </p:nvSpPr>
        <p:spPr>
          <a:xfrm>
            <a:off x="1201769" y="349324"/>
            <a:ext cx="4341200" cy="3892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dirty="0">
                <a:latin typeface="Europa-Bold" panose="02000000000000000000" pitchFamily="2" charset="0"/>
              </a:rPr>
              <a:t>Session 2</a:t>
            </a:r>
            <a:endParaRPr dirty="0">
              <a:latin typeface="Europa-Bold" panose="02000000000000000000" pitchFamily="2" charset="0"/>
            </a:endParaRPr>
          </a:p>
        </p:txBody>
      </p:sp>
      <p:sp>
        <p:nvSpPr>
          <p:cNvPr id="1178" name="Google Shape;1178;p55"/>
          <p:cNvSpPr txBox="1">
            <a:spLocks noGrp="1"/>
          </p:cNvSpPr>
          <p:nvPr>
            <p:ph type="body" idx="1"/>
          </p:nvPr>
        </p:nvSpPr>
        <p:spPr>
          <a:xfrm>
            <a:off x="1186962" y="902610"/>
            <a:ext cx="3670005" cy="966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-US" sz="2400" dirty="0">
                <a:latin typeface="Europa-Regular" panose="02000000000000000000" pitchFamily="2" charset="0"/>
              </a:rPr>
              <a:t>Objectives of the day </a:t>
            </a:r>
          </a:p>
        </p:txBody>
      </p:sp>
      <p:sp>
        <p:nvSpPr>
          <p:cNvPr id="1179" name="Google Shape;1179;p55"/>
          <p:cNvSpPr/>
          <p:nvPr/>
        </p:nvSpPr>
        <p:spPr>
          <a:xfrm rot="-5400000" flipH="1">
            <a:off x="637431" y="412096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2" name="Google Shape;5917;p69">
            <a:extLst>
              <a:ext uri="{FF2B5EF4-FFF2-40B4-BE49-F238E27FC236}">
                <a16:creationId xmlns:a16="http://schemas.microsoft.com/office/drawing/2014/main" id="{F05BB180-E826-4924-AE02-6FCB794A8BCA}"/>
              </a:ext>
            </a:extLst>
          </p:cNvPr>
          <p:cNvGrpSpPr/>
          <p:nvPr/>
        </p:nvGrpSpPr>
        <p:grpSpPr>
          <a:xfrm>
            <a:off x="893483" y="984074"/>
            <a:ext cx="310677" cy="344469"/>
            <a:chOff x="3300325" y="249875"/>
            <a:chExt cx="433725" cy="480900"/>
          </a:xfrm>
          <a:solidFill>
            <a:schemeClr val="bg1"/>
          </a:solidFill>
        </p:grpSpPr>
        <p:sp>
          <p:nvSpPr>
            <p:cNvPr id="13" name="Google Shape;5918;p69">
              <a:extLst>
                <a:ext uri="{FF2B5EF4-FFF2-40B4-BE49-F238E27FC236}">
                  <a16:creationId xmlns:a16="http://schemas.microsoft.com/office/drawing/2014/main" id="{F7C73701-88E9-409D-AC22-BAFB69CAE98A}"/>
                </a:ext>
              </a:extLst>
            </p:cNvPr>
            <p:cNvSpPr/>
            <p:nvPr/>
          </p:nvSpPr>
          <p:spPr>
            <a:xfrm>
              <a:off x="3610875" y="334550"/>
              <a:ext cx="56475" cy="28250"/>
            </a:xfrm>
            <a:custGeom>
              <a:avLst/>
              <a:gdLst/>
              <a:ahLst/>
              <a:cxnLst/>
              <a:rect l="l" t="t" r="r" b="b"/>
              <a:pathLst>
                <a:path w="2259" h="1130" extrusionOk="0">
                  <a:moveTo>
                    <a:pt x="566" y="0"/>
                  </a:moveTo>
                  <a:cubicBezTo>
                    <a:pt x="253" y="0"/>
                    <a:pt x="0" y="253"/>
                    <a:pt x="0" y="567"/>
                  </a:cubicBezTo>
                  <a:cubicBezTo>
                    <a:pt x="0" y="877"/>
                    <a:pt x="253" y="1130"/>
                    <a:pt x="566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Google Shape;5919;p69">
              <a:extLst>
                <a:ext uri="{FF2B5EF4-FFF2-40B4-BE49-F238E27FC236}">
                  <a16:creationId xmlns:a16="http://schemas.microsoft.com/office/drawing/2014/main" id="{EF97B69C-403A-413A-96B4-A2922FB347C6}"/>
                </a:ext>
              </a:extLst>
            </p:cNvPr>
            <p:cNvSpPr/>
            <p:nvPr/>
          </p:nvSpPr>
          <p:spPr>
            <a:xfrm>
              <a:off x="346767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647" y="1"/>
                  </a:moveTo>
                  <a:cubicBezTo>
                    <a:pt x="562" y="1"/>
                    <a:pt x="476" y="20"/>
                    <a:pt x="395" y="60"/>
                  </a:cubicBezTo>
                  <a:cubicBezTo>
                    <a:pt x="115" y="198"/>
                    <a:pt x="1" y="539"/>
                    <a:pt x="142" y="819"/>
                  </a:cubicBezTo>
                  <a:lnTo>
                    <a:pt x="705" y="1948"/>
                  </a:lnTo>
                  <a:cubicBezTo>
                    <a:pt x="806" y="2144"/>
                    <a:pt x="1004" y="2259"/>
                    <a:pt x="1211" y="2259"/>
                  </a:cubicBezTo>
                  <a:cubicBezTo>
                    <a:pt x="1296" y="2259"/>
                    <a:pt x="1383" y="2239"/>
                    <a:pt x="1464" y="2198"/>
                  </a:cubicBezTo>
                  <a:cubicBezTo>
                    <a:pt x="1744" y="2059"/>
                    <a:pt x="1856" y="1722"/>
                    <a:pt x="1717" y="1442"/>
                  </a:cubicBezTo>
                  <a:lnTo>
                    <a:pt x="1151" y="313"/>
                  </a:lnTo>
                  <a:cubicBezTo>
                    <a:pt x="1053" y="114"/>
                    <a:pt x="853" y="1"/>
                    <a:pt x="6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Google Shape;5920;p69">
              <a:extLst>
                <a:ext uri="{FF2B5EF4-FFF2-40B4-BE49-F238E27FC236}">
                  <a16:creationId xmlns:a16="http://schemas.microsoft.com/office/drawing/2014/main" id="{1B0C1C91-E6E3-4A00-B1D3-90CB9AF6F69C}"/>
                </a:ext>
              </a:extLst>
            </p:cNvPr>
            <p:cNvSpPr/>
            <p:nvPr/>
          </p:nvSpPr>
          <p:spPr>
            <a:xfrm>
              <a:off x="3566525" y="249875"/>
              <a:ext cx="46400" cy="56475"/>
            </a:xfrm>
            <a:custGeom>
              <a:avLst/>
              <a:gdLst/>
              <a:ahLst/>
              <a:cxnLst/>
              <a:rect l="l" t="t" r="r" b="b"/>
              <a:pathLst>
                <a:path w="1856" h="2259" extrusionOk="0">
                  <a:moveTo>
                    <a:pt x="1210" y="1"/>
                  </a:moveTo>
                  <a:cubicBezTo>
                    <a:pt x="1003" y="1"/>
                    <a:pt x="803" y="114"/>
                    <a:pt x="705" y="313"/>
                  </a:cubicBezTo>
                  <a:lnTo>
                    <a:pt x="139" y="1442"/>
                  </a:lnTo>
                  <a:cubicBezTo>
                    <a:pt x="1" y="1719"/>
                    <a:pt x="115" y="2059"/>
                    <a:pt x="392" y="2198"/>
                  </a:cubicBezTo>
                  <a:cubicBezTo>
                    <a:pt x="474" y="2239"/>
                    <a:pt x="561" y="2259"/>
                    <a:pt x="646" y="2259"/>
                  </a:cubicBezTo>
                  <a:cubicBezTo>
                    <a:pt x="852" y="2259"/>
                    <a:pt x="1051" y="2144"/>
                    <a:pt x="1151" y="1948"/>
                  </a:cubicBezTo>
                  <a:lnTo>
                    <a:pt x="1714" y="819"/>
                  </a:lnTo>
                  <a:cubicBezTo>
                    <a:pt x="1856" y="539"/>
                    <a:pt x="1741" y="198"/>
                    <a:pt x="1461" y="60"/>
                  </a:cubicBezTo>
                  <a:cubicBezTo>
                    <a:pt x="1381" y="20"/>
                    <a:pt x="1295" y="1"/>
                    <a:pt x="121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Google Shape;5921;p69">
              <a:extLst>
                <a:ext uri="{FF2B5EF4-FFF2-40B4-BE49-F238E27FC236}">
                  <a16:creationId xmlns:a16="http://schemas.microsoft.com/office/drawing/2014/main" id="{A21DF40B-6AE0-4167-B2A5-34EF7E145BCD}"/>
                </a:ext>
              </a:extLst>
            </p:cNvPr>
            <p:cNvSpPr/>
            <p:nvPr/>
          </p:nvSpPr>
          <p:spPr>
            <a:xfrm>
              <a:off x="3413250" y="334550"/>
              <a:ext cx="56500" cy="28250"/>
            </a:xfrm>
            <a:custGeom>
              <a:avLst/>
              <a:gdLst/>
              <a:ahLst/>
              <a:cxnLst/>
              <a:rect l="l" t="t" r="r" b="b"/>
              <a:pathLst>
                <a:path w="2260" h="1130" extrusionOk="0">
                  <a:moveTo>
                    <a:pt x="567" y="0"/>
                  </a:moveTo>
                  <a:cubicBezTo>
                    <a:pt x="254" y="0"/>
                    <a:pt x="1" y="253"/>
                    <a:pt x="1" y="567"/>
                  </a:cubicBezTo>
                  <a:cubicBezTo>
                    <a:pt x="1" y="877"/>
                    <a:pt x="254" y="1130"/>
                    <a:pt x="567" y="1130"/>
                  </a:cubicBezTo>
                  <a:lnTo>
                    <a:pt x="1696" y="1130"/>
                  </a:lnTo>
                  <a:cubicBezTo>
                    <a:pt x="2006" y="1130"/>
                    <a:pt x="2259" y="877"/>
                    <a:pt x="2259" y="567"/>
                  </a:cubicBezTo>
                  <a:cubicBezTo>
                    <a:pt x="2259" y="253"/>
                    <a:pt x="2006" y="0"/>
                    <a:pt x="169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Google Shape;5922;p69">
              <a:extLst>
                <a:ext uri="{FF2B5EF4-FFF2-40B4-BE49-F238E27FC236}">
                  <a16:creationId xmlns:a16="http://schemas.microsoft.com/office/drawing/2014/main" id="{39128AC4-EBFB-4D48-A97D-E5D58FAEA41E}"/>
                </a:ext>
              </a:extLst>
            </p:cNvPr>
            <p:cNvSpPr/>
            <p:nvPr/>
          </p:nvSpPr>
          <p:spPr>
            <a:xfrm>
              <a:off x="3300325" y="476675"/>
              <a:ext cx="84725" cy="254100"/>
            </a:xfrm>
            <a:custGeom>
              <a:avLst/>
              <a:gdLst/>
              <a:ahLst/>
              <a:cxnLst/>
              <a:rect l="l" t="t" r="r" b="b"/>
              <a:pathLst>
                <a:path w="3389" h="10164" extrusionOk="0">
                  <a:moveTo>
                    <a:pt x="567" y="1"/>
                  </a:moveTo>
                  <a:cubicBezTo>
                    <a:pt x="254" y="1"/>
                    <a:pt x="1" y="251"/>
                    <a:pt x="1" y="564"/>
                  </a:cubicBezTo>
                  <a:lnTo>
                    <a:pt x="1" y="9598"/>
                  </a:lnTo>
                  <a:cubicBezTo>
                    <a:pt x="1" y="9911"/>
                    <a:pt x="254" y="10164"/>
                    <a:pt x="567" y="10164"/>
                  </a:cubicBezTo>
                  <a:lnTo>
                    <a:pt x="2825" y="10164"/>
                  </a:lnTo>
                  <a:cubicBezTo>
                    <a:pt x="3136" y="10164"/>
                    <a:pt x="3389" y="9911"/>
                    <a:pt x="3389" y="9598"/>
                  </a:cubicBezTo>
                  <a:lnTo>
                    <a:pt x="3389" y="564"/>
                  </a:lnTo>
                  <a:cubicBezTo>
                    <a:pt x="3389" y="251"/>
                    <a:pt x="3136" y="1"/>
                    <a:pt x="282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Google Shape;5923;p69">
              <a:extLst>
                <a:ext uri="{FF2B5EF4-FFF2-40B4-BE49-F238E27FC236}">
                  <a16:creationId xmlns:a16="http://schemas.microsoft.com/office/drawing/2014/main" id="{E92BD2B0-014F-4B10-9B59-C78E27818E64}"/>
                </a:ext>
              </a:extLst>
            </p:cNvPr>
            <p:cNvSpPr/>
            <p:nvPr/>
          </p:nvSpPr>
          <p:spPr>
            <a:xfrm>
              <a:off x="3413250" y="335525"/>
              <a:ext cx="320800" cy="395250"/>
            </a:xfrm>
            <a:custGeom>
              <a:avLst/>
              <a:gdLst/>
              <a:ahLst/>
              <a:cxnLst/>
              <a:rect l="l" t="t" r="r" b="b"/>
              <a:pathLst>
                <a:path w="12832" h="15810" extrusionOk="0">
                  <a:moveTo>
                    <a:pt x="3954" y="1"/>
                  </a:moveTo>
                  <a:cubicBezTo>
                    <a:pt x="3641" y="1"/>
                    <a:pt x="3388" y="254"/>
                    <a:pt x="3388" y="564"/>
                  </a:cubicBezTo>
                  <a:cubicBezTo>
                    <a:pt x="3388" y="1871"/>
                    <a:pt x="2879" y="4225"/>
                    <a:pt x="1922" y="5186"/>
                  </a:cubicBezTo>
                  <a:cubicBezTo>
                    <a:pt x="1274" y="5830"/>
                    <a:pt x="723" y="6065"/>
                    <a:pt x="1" y="6427"/>
                  </a:cubicBezTo>
                  <a:lnTo>
                    <a:pt x="1" y="14897"/>
                  </a:lnTo>
                  <a:cubicBezTo>
                    <a:pt x="1109" y="15268"/>
                    <a:pt x="2515" y="15810"/>
                    <a:pt x="4659" y="15810"/>
                  </a:cubicBezTo>
                  <a:lnTo>
                    <a:pt x="8351" y="15810"/>
                  </a:lnTo>
                  <a:cubicBezTo>
                    <a:pt x="9567" y="15810"/>
                    <a:pt x="10516" y="14680"/>
                    <a:pt x="10046" y="13491"/>
                  </a:cubicBezTo>
                  <a:cubicBezTo>
                    <a:pt x="11019" y="13226"/>
                    <a:pt x="11546" y="12172"/>
                    <a:pt x="11175" y="11233"/>
                  </a:cubicBezTo>
                  <a:cubicBezTo>
                    <a:pt x="12386" y="10901"/>
                    <a:pt x="12832" y="9408"/>
                    <a:pt x="11992" y="8468"/>
                  </a:cubicBezTo>
                  <a:cubicBezTo>
                    <a:pt x="12314" y="8107"/>
                    <a:pt x="12467" y="7625"/>
                    <a:pt x="12410" y="7143"/>
                  </a:cubicBezTo>
                  <a:cubicBezTo>
                    <a:pt x="12311" y="6267"/>
                    <a:pt x="11495" y="5647"/>
                    <a:pt x="10612" y="5647"/>
                  </a:cubicBezTo>
                  <a:lnTo>
                    <a:pt x="6213" y="5647"/>
                  </a:lnTo>
                  <a:cubicBezTo>
                    <a:pt x="6586" y="4975"/>
                    <a:pt x="6785" y="3081"/>
                    <a:pt x="6776" y="2307"/>
                  </a:cubicBezTo>
                  <a:cubicBezTo>
                    <a:pt x="6761" y="1027"/>
                    <a:pt x="5701" y="1"/>
                    <a:pt x="441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0" cap="none" spc="0" normalizeH="0" baseline="0" noProof="0">
                <a:ln>
                  <a:noFill/>
                </a:ln>
                <a:solidFill>
                  <a:srgbClr val="435D7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6" name="Google Shape;1178;p55">
            <a:extLst>
              <a:ext uri="{FF2B5EF4-FFF2-40B4-BE49-F238E27FC236}">
                <a16:creationId xmlns:a16="http://schemas.microsoft.com/office/drawing/2014/main" id="{427EF91F-9B5F-4C01-B74C-C0D915556D5B}"/>
              </a:ext>
            </a:extLst>
          </p:cNvPr>
          <p:cNvSpPr txBox="1">
            <a:spLocks/>
          </p:cNvSpPr>
          <p:nvPr/>
        </p:nvSpPr>
        <p:spPr>
          <a:xfrm>
            <a:off x="-31740" y="2685016"/>
            <a:ext cx="6007608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342900" indent="-342900">
              <a:buClr>
                <a:srgbClr val="FFFFFF"/>
              </a:buClr>
              <a:buFont typeface="Wingdings" panose="05000000000000000000" pitchFamily="2" charset="2"/>
              <a:buChar char="v"/>
            </a:pPr>
            <a:r>
              <a:rPr lang="en-US" sz="20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Participants are aware of the future direction of TVET in the context of Higher Education in Fiji</a:t>
            </a:r>
          </a:p>
          <a:p>
            <a:pPr marL="0" lvl="0" indent="0">
              <a:buClr>
                <a:srgbClr val="FFFFFF"/>
              </a:buClr>
              <a:buNone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ropa-Regular" panose="02000000000000000000" pitchFamily="2" charset="0"/>
              <a:sym typeface="Barlow Condensed"/>
            </a:endParaRPr>
          </a:p>
        </p:txBody>
      </p:sp>
      <p:sp>
        <p:nvSpPr>
          <p:cNvPr id="28" name="Google Shape;1178;p55">
            <a:extLst>
              <a:ext uri="{FF2B5EF4-FFF2-40B4-BE49-F238E27FC236}">
                <a16:creationId xmlns:a16="http://schemas.microsoft.com/office/drawing/2014/main" id="{D91AC921-1639-4675-A15F-16D08E8A3CBC}"/>
              </a:ext>
            </a:extLst>
          </p:cNvPr>
          <p:cNvSpPr txBox="1">
            <a:spLocks/>
          </p:cNvSpPr>
          <p:nvPr/>
        </p:nvSpPr>
        <p:spPr>
          <a:xfrm>
            <a:off x="0" y="1554930"/>
            <a:ext cx="6708771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342900" lvl="0" indent="-342900">
              <a:buClr>
                <a:srgbClr val="FFFFFF"/>
              </a:buClr>
              <a:buFont typeface="Wingdings" panose="05000000000000000000" pitchFamily="2" charset="2"/>
              <a:buChar char="v"/>
            </a:pPr>
            <a:r>
              <a:rPr lang="en-US" sz="20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Provide an overview of the current Fiji </a:t>
            </a:r>
          </a:p>
          <a:p>
            <a:pPr marL="0" lvl="0" indent="0">
              <a:buClr>
                <a:srgbClr val="FFFFFF"/>
              </a:buClr>
              <a:buNone/>
            </a:pPr>
            <a:r>
              <a:rPr lang="en-US" sz="20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    TVET landscape </a:t>
            </a:r>
          </a:p>
          <a:p>
            <a:pPr marL="0" lvl="0" indent="0">
              <a:buClr>
                <a:srgbClr val="FFFFFF"/>
              </a:buClr>
              <a:buNone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ropa-Regular" panose="02000000000000000000" pitchFamily="2" charset="0"/>
              <a:sym typeface="Barlow Condensed"/>
            </a:endParaRPr>
          </a:p>
        </p:txBody>
      </p:sp>
      <p:sp>
        <p:nvSpPr>
          <p:cNvPr id="29" name="Google Shape;1178;p55">
            <a:extLst>
              <a:ext uri="{FF2B5EF4-FFF2-40B4-BE49-F238E27FC236}">
                <a16:creationId xmlns:a16="http://schemas.microsoft.com/office/drawing/2014/main" id="{61E968BC-8B49-42A5-BFAC-3DE1F6C9F143}"/>
              </a:ext>
            </a:extLst>
          </p:cNvPr>
          <p:cNvSpPr txBox="1">
            <a:spLocks/>
          </p:cNvSpPr>
          <p:nvPr/>
        </p:nvSpPr>
        <p:spPr>
          <a:xfrm>
            <a:off x="-31740" y="4072018"/>
            <a:ext cx="6193837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342900" lvl="0" indent="-342900">
              <a:buClr>
                <a:srgbClr val="FFFFFF"/>
              </a:buClr>
              <a:buFont typeface="Wingdings" panose="05000000000000000000" pitchFamily="2" charset="2"/>
              <a:buChar char="v"/>
            </a:pPr>
            <a:r>
              <a:rPr lang="en-US" sz="20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Gather perspectives of stakeholders to feed into the development of the National TVET Policy</a:t>
            </a:r>
          </a:p>
          <a:p>
            <a:pPr marL="0" lvl="0" indent="0">
              <a:buClr>
                <a:srgbClr val="FFFFFF"/>
              </a:buClr>
              <a:buNone/>
            </a:pPr>
            <a:endParaRPr lang="en-US" sz="2000" kern="0" dirty="0">
              <a:solidFill>
                <a:srgbClr val="FFFFFF"/>
              </a:solidFill>
              <a:latin typeface="Europa-Regular" panose="02000000000000000000" pitchFamily="2" charset="0"/>
            </a:endParaRPr>
          </a:p>
          <a:p>
            <a:pPr marL="0" lvl="0" indent="0">
              <a:buClr>
                <a:srgbClr val="FFFFFF"/>
              </a:buClr>
              <a:buNone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ropa-Regular" panose="02000000000000000000" pitchFamily="2" charset="0"/>
              <a:sym typeface="Barlow Condensed"/>
            </a:endParaRPr>
          </a:p>
        </p:txBody>
      </p:sp>
      <p:sp>
        <p:nvSpPr>
          <p:cNvPr id="30" name="Google Shape;1178;p55">
            <a:extLst>
              <a:ext uri="{FF2B5EF4-FFF2-40B4-BE49-F238E27FC236}">
                <a16:creationId xmlns:a16="http://schemas.microsoft.com/office/drawing/2014/main" id="{A2B094F8-328A-4669-A87D-DFB77172BD04}"/>
              </a:ext>
            </a:extLst>
          </p:cNvPr>
          <p:cNvSpPr txBox="1">
            <a:spLocks/>
          </p:cNvSpPr>
          <p:nvPr/>
        </p:nvSpPr>
        <p:spPr>
          <a:xfrm>
            <a:off x="-14713" y="5207243"/>
            <a:ext cx="5870448" cy="96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marR="0" lvl="0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1pPr>
            <a:lvl2pPr marL="1219170" marR="0" lvl="1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2pPr>
            <a:lvl3pPr marL="1828754" marR="0" lvl="2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3pPr>
            <a:lvl4pPr marL="2438339" marR="0" lvl="3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4pPr>
            <a:lvl5pPr marL="3047924" marR="0" lvl="4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5pPr>
            <a:lvl6pPr marL="3657509" marR="0" lvl="5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6pPr>
            <a:lvl7pPr marL="4267093" marR="0" lvl="6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●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7pPr>
            <a:lvl8pPr marL="4876678" marR="0" lvl="7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○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8pPr>
            <a:lvl9pPr marL="5486263" marR="0" lvl="8" indent="-42332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Barlow Condensed"/>
              <a:buChar char="■"/>
              <a:defRPr sz="1867" b="0" i="0" u="none" strike="noStrike" cap="none">
                <a:solidFill>
                  <a:schemeClr val="lt1"/>
                </a:solidFill>
                <a:latin typeface="Barlow Condensed"/>
                <a:ea typeface="Barlow Condensed"/>
                <a:cs typeface="Barlow Condensed"/>
                <a:sym typeface="Barlow Condensed"/>
              </a:defRPr>
            </a:lvl9pPr>
          </a:lstStyle>
          <a:p>
            <a:pPr marL="342900" lvl="0" indent="-342900">
              <a:buClr>
                <a:srgbClr val="FFFFFF"/>
              </a:buClr>
              <a:buFont typeface="Wingdings" panose="05000000000000000000" pitchFamily="2" charset="2"/>
              <a:buChar char="v"/>
            </a:pPr>
            <a:r>
              <a:rPr lang="en-US" sz="2000" kern="0" dirty="0">
                <a:solidFill>
                  <a:srgbClr val="FFFFFF"/>
                </a:solidFill>
                <a:latin typeface="Europa-Regular" panose="02000000000000000000" pitchFamily="2" charset="0"/>
              </a:rPr>
              <a:t>Participants are aware of the current opportunities, challenges and stakeholders in the sector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ropa-Regular" panose="02000000000000000000" pitchFamily="2" charset="0"/>
              <a:sym typeface="Barlow Condensed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B619479-3A7D-4CCE-98E1-265BB31897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7854" y="1258432"/>
            <a:ext cx="6164145" cy="455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912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8" grpId="0"/>
      <p:bldP spid="29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74" r="9571" b="4195"/>
          <a:stretch/>
        </p:blipFill>
        <p:spPr>
          <a:xfrm flipH="1">
            <a:off x="0" y="1596112"/>
            <a:ext cx="12153513" cy="5153867"/>
          </a:xfrm>
        </p:spPr>
      </p:pic>
      <p:sp>
        <p:nvSpPr>
          <p:cNvPr id="13" name="TextBox 12"/>
          <p:cNvSpPr txBox="1"/>
          <p:nvPr/>
        </p:nvSpPr>
        <p:spPr>
          <a:xfrm>
            <a:off x="-116886" y="3920255"/>
            <a:ext cx="14677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tx2"/>
                </a:solidFill>
              </a:rPr>
              <a:t>Session 1:  Welcome-Opening &amp; TVET Landscape &amp; Direc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421996" y="4005652"/>
            <a:ext cx="149203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accent3"/>
                </a:solidFill>
              </a:rPr>
              <a:t>Session 2:</a:t>
            </a:r>
          </a:p>
          <a:p>
            <a:pPr algn="ctr">
              <a:defRPr/>
            </a:pPr>
            <a:r>
              <a:rPr lang="en-US" sz="1600" b="1" kern="0" dirty="0">
                <a:solidFill>
                  <a:schemeClr val="accent3"/>
                </a:solidFill>
              </a:rPr>
              <a:t>Objectives of the day &amp; Review of what has happened</a:t>
            </a:r>
          </a:p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635074" y="4364379"/>
            <a:ext cx="2126618" cy="646331"/>
          </a:xfrm>
          <a:prstGeom prst="rect">
            <a:avLst/>
          </a:prstGeom>
          <a:solidFill>
            <a:srgbClr val="333333">
              <a:alpha val="70000"/>
            </a:srgb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kern="0" dirty="0">
                <a:solidFill>
                  <a:schemeClr val="bg1"/>
                </a:solidFill>
              </a:rPr>
              <a:t>Session 5: World Café </a:t>
            </a:r>
          </a:p>
        </p:txBody>
      </p:sp>
      <p:sp>
        <p:nvSpPr>
          <p:cNvPr id="37" name="POWER_USER_ID_ICONS_Earth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947999" y="5987477"/>
            <a:ext cx="40093" cy="23854"/>
          </a:xfrm>
          <a:custGeom>
            <a:avLst/>
            <a:gdLst>
              <a:gd name="T0" fmla="*/ 9 w 88"/>
              <a:gd name="T1" fmla="*/ 53 h 55"/>
              <a:gd name="T2" fmla="*/ 48 w 88"/>
              <a:gd name="T3" fmla="*/ 47 h 55"/>
              <a:gd name="T4" fmla="*/ 77 w 88"/>
              <a:gd name="T5" fmla="*/ 55 h 55"/>
              <a:gd name="T6" fmla="*/ 88 w 88"/>
              <a:gd name="T7" fmla="*/ 35 h 55"/>
              <a:gd name="T8" fmla="*/ 20 w 88"/>
              <a:gd name="T9" fmla="*/ 0 h 55"/>
              <a:gd name="T10" fmla="*/ 0 w 88"/>
              <a:gd name="T11" fmla="*/ 37 h 55"/>
              <a:gd name="T12" fmla="*/ 9 w 88"/>
              <a:gd name="T13" fmla="*/ 5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8" h="55">
                <a:moveTo>
                  <a:pt x="9" y="53"/>
                </a:moveTo>
                <a:lnTo>
                  <a:pt x="48" y="47"/>
                </a:lnTo>
                <a:lnTo>
                  <a:pt x="77" y="55"/>
                </a:lnTo>
                <a:lnTo>
                  <a:pt x="88" y="35"/>
                </a:lnTo>
                <a:lnTo>
                  <a:pt x="20" y="0"/>
                </a:lnTo>
                <a:lnTo>
                  <a:pt x="0" y="37"/>
                </a:lnTo>
                <a:lnTo>
                  <a:pt x="9" y="53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 kern="0" dirty="0">
              <a:solidFill>
                <a:sysClr val="windowText" lastClr="000000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7325377" y="5026240"/>
            <a:ext cx="1925885" cy="584775"/>
          </a:xfrm>
          <a:prstGeom prst="rect">
            <a:avLst/>
          </a:prstGeom>
          <a:solidFill>
            <a:srgbClr val="333333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FF0000"/>
                </a:solidFill>
              </a:rPr>
              <a:t>Session 4: Panel Discussion 1&amp; 2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5864083" y="1625226"/>
            <a:ext cx="1423983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kern="0" dirty="0">
                <a:solidFill>
                  <a:srgbClr val="333333"/>
                </a:solidFill>
              </a:rPr>
              <a:t>Session 8: Next Steps &amp; Closing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C920B10-7272-462E-A385-FBF9E6EC529A}"/>
              </a:ext>
            </a:extLst>
          </p:cNvPr>
          <p:cNvSpPr txBox="1"/>
          <p:nvPr/>
        </p:nvSpPr>
        <p:spPr>
          <a:xfrm>
            <a:off x="9815564" y="2841493"/>
            <a:ext cx="2100965" cy="646331"/>
          </a:xfrm>
          <a:prstGeom prst="rect">
            <a:avLst/>
          </a:prstGeom>
          <a:solidFill>
            <a:srgbClr val="333333">
              <a:alpha val="70000"/>
            </a:srgb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b="1" kern="0" dirty="0">
                <a:solidFill>
                  <a:schemeClr val="accent6"/>
                </a:solidFill>
              </a:rPr>
              <a:t>Session 6: Feedback &amp; Discuss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45600B8-D662-437A-B615-FA52519E7767}"/>
              </a:ext>
            </a:extLst>
          </p:cNvPr>
          <p:cNvSpPr txBox="1"/>
          <p:nvPr/>
        </p:nvSpPr>
        <p:spPr>
          <a:xfrm>
            <a:off x="8473730" y="1888925"/>
            <a:ext cx="2392316" cy="584775"/>
          </a:xfrm>
          <a:prstGeom prst="rect">
            <a:avLst/>
          </a:prstGeom>
          <a:solidFill>
            <a:srgbClr val="F0F2F1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chemeClr val="accent2"/>
                </a:solidFill>
              </a:rPr>
              <a:t>Session 7: How can we best add value – NATI</a:t>
            </a:r>
            <a:endParaRPr lang="en-US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0BA67CD-445C-4B3A-ADA8-CD9317935AC9}"/>
              </a:ext>
            </a:extLst>
          </p:cNvPr>
          <p:cNvSpPr txBox="1"/>
          <p:nvPr/>
        </p:nvSpPr>
        <p:spPr>
          <a:xfrm>
            <a:off x="2940738" y="4068693"/>
            <a:ext cx="126149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CC5C97"/>
                </a:solidFill>
              </a:rPr>
              <a:t>Session 3: </a:t>
            </a:r>
          </a:p>
          <a:p>
            <a:pPr algn="ctr">
              <a:defRPr/>
            </a:pPr>
            <a:r>
              <a:rPr lang="en-US" sz="1600" b="1" kern="0" dirty="0">
                <a:solidFill>
                  <a:srgbClr val="CC5C97"/>
                </a:solidFill>
              </a:rPr>
              <a:t>Thought Leader </a:t>
            </a:r>
            <a:r>
              <a:rPr lang="en-US" sz="1400" b="1" kern="0" dirty="0">
                <a:solidFill>
                  <a:srgbClr val="CC5C97"/>
                </a:solidFill>
              </a:rPr>
              <a:t>Enabling TVET Policy for All </a:t>
            </a:r>
          </a:p>
        </p:txBody>
      </p:sp>
      <p:pic>
        <p:nvPicPr>
          <p:cNvPr id="5" name="Graphic 4" descr="Coffee">
            <a:extLst>
              <a:ext uri="{FF2B5EF4-FFF2-40B4-BE49-F238E27FC236}">
                <a16:creationId xmlns:a16="http://schemas.microsoft.com/office/drawing/2014/main" id="{4CD3277B-8465-477E-B7D8-DFC06B5B9F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27446" y="4842566"/>
            <a:ext cx="914400" cy="9144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A0E1D3C-1254-4EB0-88A6-10C237C49397}"/>
              </a:ext>
            </a:extLst>
          </p:cNvPr>
          <p:cNvCxnSpPr>
            <a:cxnSpLocks/>
          </p:cNvCxnSpPr>
          <p:nvPr/>
        </p:nvCxnSpPr>
        <p:spPr>
          <a:xfrm>
            <a:off x="4447471" y="5357751"/>
            <a:ext cx="2723873" cy="103389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 descr="Business Growth">
            <a:extLst>
              <a:ext uri="{FF2B5EF4-FFF2-40B4-BE49-F238E27FC236}">
                <a16:creationId xmlns:a16="http://schemas.microsoft.com/office/drawing/2014/main" id="{45E69D59-B7C3-468F-829E-85AEA5D3DB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4261" y="5497531"/>
            <a:ext cx="914400" cy="914400"/>
          </a:xfrm>
          <a:prstGeom prst="rect">
            <a:avLst/>
          </a:prstGeom>
        </p:spPr>
      </p:pic>
      <p:pic>
        <p:nvPicPr>
          <p:cNvPr id="32" name="Graphic 31" descr="Bullseye">
            <a:extLst>
              <a:ext uri="{FF2B5EF4-FFF2-40B4-BE49-F238E27FC236}">
                <a16:creationId xmlns:a16="http://schemas.microsoft.com/office/drawing/2014/main" id="{EC3476CB-5C05-4BE5-8907-FD1B407FA0E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80430" y="5554131"/>
            <a:ext cx="914400" cy="914400"/>
          </a:xfrm>
          <a:prstGeom prst="rect">
            <a:avLst/>
          </a:prstGeom>
        </p:spPr>
      </p:pic>
      <p:pic>
        <p:nvPicPr>
          <p:cNvPr id="34" name="Graphic 33" descr="Head with gears">
            <a:extLst>
              <a:ext uri="{FF2B5EF4-FFF2-40B4-BE49-F238E27FC236}">
                <a16:creationId xmlns:a16="http://schemas.microsoft.com/office/drawing/2014/main" id="{BA18C23F-DBBC-4735-B5F9-D8ED6C1C30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02820" y="5277900"/>
            <a:ext cx="914400" cy="914400"/>
          </a:xfrm>
          <a:prstGeom prst="rect">
            <a:avLst/>
          </a:prstGeom>
        </p:spPr>
      </p:pic>
      <p:pic>
        <p:nvPicPr>
          <p:cNvPr id="36" name="Graphic 35" descr="Group brainstorm">
            <a:extLst>
              <a:ext uri="{FF2B5EF4-FFF2-40B4-BE49-F238E27FC236}">
                <a16:creationId xmlns:a16="http://schemas.microsoft.com/office/drawing/2014/main" id="{C10CA1AA-1FB1-45F4-9B0F-F4385892528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45492" y="4327381"/>
            <a:ext cx="914400" cy="914400"/>
          </a:xfrm>
          <a:prstGeom prst="rect">
            <a:avLst/>
          </a:prstGeom>
        </p:spPr>
      </p:pic>
      <p:pic>
        <p:nvPicPr>
          <p:cNvPr id="40" name="Graphic 39" descr="Connections">
            <a:extLst>
              <a:ext uri="{FF2B5EF4-FFF2-40B4-BE49-F238E27FC236}">
                <a16:creationId xmlns:a16="http://schemas.microsoft.com/office/drawing/2014/main" id="{5592EBE7-D745-4DC0-92EF-3CAB1AD48E1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901164" y="2870795"/>
            <a:ext cx="914400" cy="914400"/>
          </a:xfrm>
          <a:prstGeom prst="rect">
            <a:avLst/>
          </a:prstGeom>
        </p:spPr>
      </p:pic>
      <p:pic>
        <p:nvPicPr>
          <p:cNvPr id="47" name="Graphic 46" descr="Boardroom">
            <a:extLst>
              <a:ext uri="{FF2B5EF4-FFF2-40B4-BE49-F238E27FC236}">
                <a16:creationId xmlns:a16="http://schemas.microsoft.com/office/drawing/2014/main" id="{EC02F63A-09AC-481B-B42E-9F7533EFC50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720674" y="3885702"/>
            <a:ext cx="914400" cy="914400"/>
          </a:xfrm>
          <a:prstGeom prst="rect">
            <a:avLst/>
          </a:prstGeom>
        </p:spPr>
      </p:pic>
      <p:pic>
        <p:nvPicPr>
          <p:cNvPr id="51" name="Graphic 50" descr="Handshake">
            <a:extLst>
              <a:ext uri="{FF2B5EF4-FFF2-40B4-BE49-F238E27FC236}">
                <a16:creationId xmlns:a16="http://schemas.microsoft.com/office/drawing/2014/main" id="{CECAC32E-E38C-4C52-BFB8-9563367B34E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911606" y="2406998"/>
            <a:ext cx="914400" cy="914400"/>
          </a:xfrm>
          <a:prstGeom prst="rect">
            <a:avLst/>
          </a:prstGeom>
        </p:spPr>
      </p:pic>
      <p:pic>
        <p:nvPicPr>
          <p:cNvPr id="109" name="Graphic 108" descr="Workflow">
            <a:extLst>
              <a:ext uri="{FF2B5EF4-FFF2-40B4-BE49-F238E27FC236}">
                <a16:creationId xmlns:a16="http://schemas.microsoft.com/office/drawing/2014/main" id="{FFACAA55-8C43-4A2A-AF08-9951090C77D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812526" y="1706913"/>
            <a:ext cx="914400" cy="914401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674ED0A2-1024-41EA-AA68-450A74D0EB39}"/>
              </a:ext>
            </a:extLst>
          </p:cNvPr>
          <p:cNvCxnSpPr>
            <a:cxnSpLocks/>
          </p:cNvCxnSpPr>
          <p:nvPr/>
        </p:nvCxnSpPr>
        <p:spPr>
          <a:xfrm>
            <a:off x="8762889" y="3668026"/>
            <a:ext cx="3390623" cy="327119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CF0B6F8-8BF6-499C-8252-17CA43D3471E}"/>
              </a:ext>
            </a:extLst>
          </p:cNvPr>
          <p:cNvCxnSpPr>
            <a:cxnSpLocks/>
          </p:cNvCxnSpPr>
          <p:nvPr/>
        </p:nvCxnSpPr>
        <p:spPr>
          <a:xfrm flipV="1">
            <a:off x="7288066" y="2207081"/>
            <a:ext cx="871583" cy="61210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Graphic 120" descr="Coffee">
            <a:extLst>
              <a:ext uri="{FF2B5EF4-FFF2-40B4-BE49-F238E27FC236}">
                <a16:creationId xmlns:a16="http://schemas.microsoft.com/office/drawing/2014/main" id="{8F16CD56-8765-45E4-B27B-EEB4467823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8942" y="2568315"/>
            <a:ext cx="687767" cy="584829"/>
          </a:xfrm>
          <a:prstGeom prst="rect">
            <a:avLst/>
          </a:prstGeom>
        </p:spPr>
      </p:pic>
      <p:pic>
        <p:nvPicPr>
          <p:cNvPr id="114" name="Graphic 113" descr="Table setting">
            <a:extLst>
              <a:ext uri="{FF2B5EF4-FFF2-40B4-BE49-F238E27FC236}">
                <a16:creationId xmlns:a16="http://schemas.microsoft.com/office/drawing/2014/main" id="{7AA24EC5-B502-4FBE-9D8B-96CB938CA98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457393" y="3720788"/>
            <a:ext cx="914400" cy="9144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99B3100-821A-4C10-A130-BDF3600A1B2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-24021" y="-32355"/>
            <a:ext cx="12216021" cy="1648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89301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2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6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9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4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4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5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9" grpId="0" animBg="1"/>
      <p:bldP spid="106" grpId="0" animBg="1"/>
      <p:bldP spid="128" grpId="0" animBg="1"/>
      <p:bldP spid="86" grpId="0" animBg="1"/>
      <p:bldP spid="90" grpId="0" animBg="1"/>
      <p:bldP spid="10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p35"/>
          <p:cNvSpPr txBox="1">
            <a:spLocks noGrp="1"/>
          </p:cNvSpPr>
          <p:nvPr>
            <p:ph type="title"/>
          </p:nvPr>
        </p:nvSpPr>
        <p:spPr>
          <a:xfrm>
            <a:off x="1377433" y="265027"/>
            <a:ext cx="9965200" cy="1145106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3600" dirty="0">
                <a:latin typeface="Europa-Bold" panose="02000000000000000000" pitchFamily="2" charset="0"/>
              </a:rPr>
              <a:t>Session 2: So what has happened?</a:t>
            </a:r>
            <a:endParaRPr sz="3600" dirty="0">
              <a:latin typeface="Europa-Bold" panose="02000000000000000000" pitchFamily="2" charset="0"/>
            </a:endParaRPr>
          </a:p>
        </p:txBody>
      </p:sp>
      <p:sp>
        <p:nvSpPr>
          <p:cNvPr id="430" name="Google Shape;430;p35"/>
          <p:cNvSpPr/>
          <p:nvPr/>
        </p:nvSpPr>
        <p:spPr>
          <a:xfrm rot="-5400000" flipH="1">
            <a:off x="878355" y="473632"/>
            <a:ext cx="389217" cy="32486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0" y="0"/>
                </a:moveTo>
                <a:lnTo>
                  <a:pt x="9096" y="14235"/>
                </a:lnTo>
                <a:lnTo>
                  <a:pt x="17055" y="0"/>
                </a:lnTo>
                <a:lnTo>
                  <a:pt x="11370" y="0"/>
                </a:lnTo>
                <a:lnTo>
                  <a:pt x="8505" y="4548"/>
                </a:lnTo>
                <a:lnTo>
                  <a:pt x="5685" y="0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1" name="Google Shape;431;p35"/>
          <p:cNvSpPr/>
          <p:nvPr/>
        </p:nvSpPr>
        <p:spPr>
          <a:xfrm>
            <a:off x="71888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2" name="Google Shape;432;p35"/>
          <p:cNvSpPr/>
          <p:nvPr/>
        </p:nvSpPr>
        <p:spPr>
          <a:xfrm>
            <a:off x="79003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3" name="Google Shape;433;p35"/>
          <p:cNvSpPr/>
          <p:nvPr/>
        </p:nvSpPr>
        <p:spPr>
          <a:xfrm>
            <a:off x="861388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4" name="Google Shape;434;p35"/>
          <p:cNvSpPr/>
          <p:nvPr/>
        </p:nvSpPr>
        <p:spPr>
          <a:xfrm>
            <a:off x="9350981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5" name="Google Shape;435;p35"/>
          <p:cNvSpPr/>
          <p:nvPr/>
        </p:nvSpPr>
        <p:spPr>
          <a:xfrm>
            <a:off x="10062529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6" name="Google Shape;436;p35"/>
          <p:cNvSpPr/>
          <p:nvPr/>
        </p:nvSpPr>
        <p:spPr>
          <a:xfrm>
            <a:off x="107760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7" name="Google Shape;437;p35"/>
          <p:cNvSpPr/>
          <p:nvPr/>
        </p:nvSpPr>
        <p:spPr>
          <a:xfrm>
            <a:off x="11487576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8" name="Google Shape;438;p35"/>
          <p:cNvSpPr/>
          <p:nvPr/>
        </p:nvSpPr>
        <p:spPr>
          <a:xfrm>
            <a:off x="71888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9" name="Google Shape;439;p35"/>
          <p:cNvSpPr/>
          <p:nvPr/>
        </p:nvSpPr>
        <p:spPr>
          <a:xfrm>
            <a:off x="79003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0" name="Google Shape;440;p35"/>
          <p:cNvSpPr/>
          <p:nvPr/>
        </p:nvSpPr>
        <p:spPr>
          <a:xfrm>
            <a:off x="861388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1" name="Google Shape;441;p35"/>
          <p:cNvSpPr/>
          <p:nvPr/>
        </p:nvSpPr>
        <p:spPr>
          <a:xfrm>
            <a:off x="9350981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2" name="Google Shape;442;p35"/>
          <p:cNvSpPr/>
          <p:nvPr/>
        </p:nvSpPr>
        <p:spPr>
          <a:xfrm>
            <a:off x="10062529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3" name="Google Shape;443;p35"/>
          <p:cNvSpPr/>
          <p:nvPr/>
        </p:nvSpPr>
        <p:spPr>
          <a:xfrm>
            <a:off x="107760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4" name="Google Shape;444;p35"/>
          <p:cNvSpPr/>
          <p:nvPr/>
        </p:nvSpPr>
        <p:spPr>
          <a:xfrm>
            <a:off x="11487576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5" name="Google Shape;445;p35"/>
          <p:cNvSpPr/>
          <p:nvPr/>
        </p:nvSpPr>
        <p:spPr>
          <a:xfrm>
            <a:off x="215301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6" name="Google Shape;446;p35"/>
          <p:cNvSpPr/>
          <p:nvPr/>
        </p:nvSpPr>
        <p:spPr>
          <a:xfrm>
            <a:off x="28645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7" name="Google Shape;447;p35"/>
          <p:cNvSpPr/>
          <p:nvPr/>
        </p:nvSpPr>
        <p:spPr>
          <a:xfrm>
            <a:off x="3578020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8" name="Google Shape;448;p35"/>
          <p:cNvSpPr/>
          <p:nvPr/>
        </p:nvSpPr>
        <p:spPr>
          <a:xfrm>
            <a:off x="4315114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9" name="Google Shape;449;p35"/>
          <p:cNvSpPr/>
          <p:nvPr/>
        </p:nvSpPr>
        <p:spPr>
          <a:xfrm>
            <a:off x="5026663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0" name="Google Shape;450;p35"/>
          <p:cNvSpPr/>
          <p:nvPr/>
        </p:nvSpPr>
        <p:spPr>
          <a:xfrm>
            <a:off x="574015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1" name="Google Shape;451;p35"/>
          <p:cNvSpPr/>
          <p:nvPr/>
        </p:nvSpPr>
        <p:spPr>
          <a:xfrm>
            <a:off x="645170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2" name="Google Shape;452;p35"/>
          <p:cNvSpPr/>
          <p:nvPr/>
        </p:nvSpPr>
        <p:spPr>
          <a:xfrm>
            <a:off x="215301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3" name="Google Shape;453;p35"/>
          <p:cNvSpPr/>
          <p:nvPr/>
        </p:nvSpPr>
        <p:spPr>
          <a:xfrm>
            <a:off x="28645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4" name="Google Shape;454;p35"/>
          <p:cNvSpPr/>
          <p:nvPr/>
        </p:nvSpPr>
        <p:spPr>
          <a:xfrm>
            <a:off x="3578020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5" name="Google Shape;455;p35"/>
          <p:cNvSpPr/>
          <p:nvPr/>
        </p:nvSpPr>
        <p:spPr>
          <a:xfrm>
            <a:off x="4315114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6" name="Google Shape;456;p35"/>
          <p:cNvSpPr/>
          <p:nvPr/>
        </p:nvSpPr>
        <p:spPr>
          <a:xfrm>
            <a:off x="5026663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7" name="Google Shape;457;p35"/>
          <p:cNvSpPr/>
          <p:nvPr/>
        </p:nvSpPr>
        <p:spPr>
          <a:xfrm>
            <a:off x="574015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8" name="Google Shape;458;p35"/>
          <p:cNvSpPr/>
          <p:nvPr/>
        </p:nvSpPr>
        <p:spPr>
          <a:xfrm>
            <a:off x="645170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9" name="Google Shape;459;p35"/>
          <p:cNvSpPr/>
          <p:nvPr/>
        </p:nvSpPr>
        <p:spPr>
          <a:xfrm>
            <a:off x="7043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0" name="Google Shape;460;p35"/>
          <p:cNvSpPr/>
          <p:nvPr/>
        </p:nvSpPr>
        <p:spPr>
          <a:xfrm>
            <a:off x="14158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1" name="Google Shape;461;p35"/>
          <p:cNvSpPr/>
          <p:nvPr/>
        </p:nvSpPr>
        <p:spPr>
          <a:xfrm>
            <a:off x="7043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2" name="Google Shape;462;p35"/>
          <p:cNvSpPr/>
          <p:nvPr/>
        </p:nvSpPr>
        <p:spPr>
          <a:xfrm>
            <a:off x="14158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3" name="Google Shape;463;p35"/>
          <p:cNvSpPr/>
          <p:nvPr/>
        </p:nvSpPr>
        <p:spPr>
          <a:xfrm>
            <a:off x="-3274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4" name="Google Shape;464;p35"/>
          <p:cNvSpPr/>
          <p:nvPr/>
        </p:nvSpPr>
        <p:spPr>
          <a:xfrm>
            <a:off x="-3274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0368623-E2B7-45DE-90A5-0C43C87D513C}"/>
              </a:ext>
            </a:extLst>
          </p:cNvPr>
          <p:cNvGrpSpPr/>
          <p:nvPr/>
        </p:nvGrpSpPr>
        <p:grpSpPr>
          <a:xfrm>
            <a:off x="1063272" y="1676414"/>
            <a:ext cx="1414611" cy="389217"/>
            <a:chOff x="797454" y="1257310"/>
            <a:chExt cx="1060958" cy="291913"/>
          </a:xfrm>
        </p:grpSpPr>
        <p:sp>
          <p:nvSpPr>
            <p:cNvPr id="465" name="Google Shape;465;p35"/>
            <p:cNvSpPr/>
            <p:nvPr/>
          </p:nvSpPr>
          <p:spPr>
            <a:xfrm rot="-5400000" flipH="1">
              <a:off x="1045758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6" name="Google Shape;466;p35"/>
            <p:cNvSpPr/>
            <p:nvPr/>
          </p:nvSpPr>
          <p:spPr>
            <a:xfrm rot="-5400000" flipH="1">
              <a:off x="773322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7" name="Google Shape;467;p35"/>
            <p:cNvSpPr/>
            <p:nvPr/>
          </p:nvSpPr>
          <p:spPr>
            <a:xfrm rot="-5400000" flipH="1">
              <a:off x="1318193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8" name="Google Shape;468;p35"/>
            <p:cNvSpPr/>
            <p:nvPr/>
          </p:nvSpPr>
          <p:spPr>
            <a:xfrm rot="-5400000" flipH="1">
              <a:off x="1590631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70EB211-3780-4510-A0E8-EFEE97FF8D1F}"/>
              </a:ext>
            </a:extLst>
          </p:cNvPr>
          <p:cNvGrpSpPr/>
          <p:nvPr/>
        </p:nvGrpSpPr>
        <p:grpSpPr>
          <a:xfrm rot="5400000">
            <a:off x="10143419" y="4562269"/>
            <a:ext cx="1414611" cy="389217"/>
            <a:chOff x="6638255" y="1866051"/>
            <a:chExt cx="1060958" cy="291913"/>
          </a:xfrm>
        </p:grpSpPr>
        <p:sp>
          <p:nvSpPr>
            <p:cNvPr id="473" name="Google Shape;473;p35"/>
            <p:cNvSpPr/>
            <p:nvPr/>
          </p:nvSpPr>
          <p:spPr>
            <a:xfrm rot="-5400000" flipH="1">
              <a:off x="6886559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4" name="Google Shape;474;p35"/>
            <p:cNvSpPr/>
            <p:nvPr/>
          </p:nvSpPr>
          <p:spPr>
            <a:xfrm rot="-5400000" flipH="1">
              <a:off x="6614123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5" name="Google Shape;475;p35"/>
            <p:cNvSpPr/>
            <p:nvPr/>
          </p:nvSpPr>
          <p:spPr>
            <a:xfrm rot="-5400000" flipH="1">
              <a:off x="71589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6" name="Google Shape;476;p35"/>
            <p:cNvSpPr/>
            <p:nvPr/>
          </p:nvSpPr>
          <p:spPr>
            <a:xfrm rot="-5400000" flipH="1">
              <a:off x="74314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F23A3A4-72FD-4A0C-A873-5C74A4C57A8B}"/>
              </a:ext>
            </a:extLst>
          </p:cNvPr>
          <p:cNvGrpSpPr/>
          <p:nvPr/>
        </p:nvGrpSpPr>
        <p:grpSpPr>
          <a:xfrm>
            <a:off x="-932430" y="3303254"/>
            <a:ext cx="11432156" cy="1435305"/>
            <a:chOff x="-455673" y="1962152"/>
            <a:chExt cx="6733139" cy="845344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AF5E3A9E-3793-43F3-B342-DB6F1144B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-513" t="65537" r="51746" b="-303"/>
            <a:stretch/>
          </p:blipFill>
          <p:spPr>
            <a:xfrm>
              <a:off x="-455673" y="1962152"/>
              <a:ext cx="1732583" cy="845344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D435EBED-12BD-4458-B652-EEE4B1C93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86983" y="2276756"/>
              <a:ext cx="220941" cy="342619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232EF8-C97F-4DF6-A534-774D10CBA991}"/>
                </a:ext>
              </a:extLst>
            </p:cNvPr>
            <p:cNvSpPr/>
            <p:nvPr/>
          </p:nvSpPr>
          <p:spPr>
            <a:xfrm>
              <a:off x="1252364" y="2381370"/>
              <a:ext cx="5025102" cy="111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1867" kern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F7C9134-D2A7-49AA-A9B9-98324DB27C5A}"/>
              </a:ext>
            </a:extLst>
          </p:cNvPr>
          <p:cNvGrpSpPr/>
          <p:nvPr/>
        </p:nvGrpSpPr>
        <p:grpSpPr>
          <a:xfrm>
            <a:off x="2930499" y="4041780"/>
            <a:ext cx="491380" cy="135200"/>
            <a:chOff x="3743854" y="1866049"/>
            <a:chExt cx="1060959" cy="291915"/>
          </a:xfrm>
        </p:grpSpPr>
        <p:sp>
          <p:nvSpPr>
            <p:cNvPr id="469" name="Google Shape;469;p35"/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0" name="Google Shape;470;p35"/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1" name="Google Shape;471;p35"/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2" name="Google Shape;472;p35"/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302C911-5F69-4607-8A2E-039BB670B14E}"/>
              </a:ext>
            </a:extLst>
          </p:cNvPr>
          <p:cNvGrpSpPr/>
          <p:nvPr/>
        </p:nvGrpSpPr>
        <p:grpSpPr>
          <a:xfrm>
            <a:off x="3534225" y="4032329"/>
            <a:ext cx="491380" cy="135200"/>
            <a:chOff x="3743854" y="1866049"/>
            <a:chExt cx="1060959" cy="291915"/>
          </a:xfrm>
        </p:grpSpPr>
        <p:sp>
          <p:nvSpPr>
            <p:cNvPr id="69" name="Google Shape;469;p35">
              <a:extLst>
                <a:ext uri="{FF2B5EF4-FFF2-40B4-BE49-F238E27FC236}">
                  <a16:creationId xmlns:a16="http://schemas.microsoft.com/office/drawing/2014/main" id="{E4F36875-B55A-4805-964E-DDC266298746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" name="Google Shape;470;p35">
              <a:extLst>
                <a:ext uri="{FF2B5EF4-FFF2-40B4-BE49-F238E27FC236}">
                  <a16:creationId xmlns:a16="http://schemas.microsoft.com/office/drawing/2014/main" id="{A7339704-D630-46C0-A29B-247B7961241E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1" name="Google Shape;471;p35">
              <a:extLst>
                <a:ext uri="{FF2B5EF4-FFF2-40B4-BE49-F238E27FC236}">
                  <a16:creationId xmlns:a16="http://schemas.microsoft.com/office/drawing/2014/main" id="{47567F50-BA87-4755-90EE-20D7FB036124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" name="Google Shape;472;p35">
              <a:extLst>
                <a:ext uri="{FF2B5EF4-FFF2-40B4-BE49-F238E27FC236}">
                  <a16:creationId xmlns:a16="http://schemas.microsoft.com/office/drawing/2014/main" id="{3DB3DF5D-B02A-4EC5-9CDE-3EE2BA300927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A64EF49-6977-426C-BD12-A20F3FFCF0BE}"/>
              </a:ext>
            </a:extLst>
          </p:cNvPr>
          <p:cNvSpPr/>
          <p:nvPr/>
        </p:nvSpPr>
        <p:spPr>
          <a:xfrm rot="5400000">
            <a:off x="6863514" y="7470554"/>
            <a:ext cx="7099701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5950705-9993-44CB-A3CC-ED201D67A807}"/>
              </a:ext>
            </a:extLst>
          </p:cNvPr>
          <p:cNvGrpSpPr/>
          <p:nvPr/>
        </p:nvGrpSpPr>
        <p:grpSpPr>
          <a:xfrm>
            <a:off x="7139719" y="4041945"/>
            <a:ext cx="491380" cy="135200"/>
            <a:chOff x="3743854" y="1866049"/>
            <a:chExt cx="1060959" cy="291915"/>
          </a:xfrm>
        </p:grpSpPr>
        <p:sp>
          <p:nvSpPr>
            <p:cNvPr id="83" name="Google Shape;469;p35">
              <a:extLst>
                <a:ext uri="{FF2B5EF4-FFF2-40B4-BE49-F238E27FC236}">
                  <a16:creationId xmlns:a16="http://schemas.microsoft.com/office/drawing/2014/main" id="{91BF5180-B2AB-4107-BB18-93FDECA8E639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Google Shape;470;p35">
              <a:extLst>
                <a:ext uri="{FF2B5EF4-FFF2-40B4-BE49-F238E27FC236}">
                  <a16:creationId xmlns:a16="http://schemas.microsoft.com/office/drawing/2014/main" id="{8EB7EA8B-ECD3-47E2-A480-6C4414780106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5" name="Google Shape;471;p35">
              <a:extLst>
                <a:ext uri="{FF2B5EF4-FFF2-40B4-BE49-F238E27FC236}">
                  <a16:creationId xmlns:a16="http://schemas.microsoft.com/office/drawing/2014/main" id="{F53CB862-3B58-4D7B-9782-E47ED05DAA2C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" name="Google Shape;472;p35">
              <a:extLst>
                <a:ext uri="{FF2B5EF4-FFF2-40B4-BE49-F238E27FC236}">
                  <a16:creationId xmlns:a16="http://schemas.microsoft.com/office/drawing/2014/main" id="{3497195F-3A6F-4ABD-8E93-674DEE20715C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1D5AB28-CF29-4338-A4F1-297BF940AF9D}"/>
              </a:ext>
            </a:extLst>
          </p:cNvPr>
          <p:cNvGrpSpPr/>
          <p:nvPr/>
        </p:nvGrpSpPr>
        <p:grpSpPr>
          <a:xfrm>
            <a:off x="7743445" y="4032495"/>
            <a:ext cx="491380" cy="135200"/>
            <a:chOff x="3743854" y="1866049"/>
            <a:chExt cx="1060959" cy="291915"/>
          </a:xfrm>
        </p:grpSpPr>
        <p:sp>
          <p:nvSpPr>
            <p:cNvPr id="88" name="Google Shape;469;p35">
              <a:extLst>
                <a:ext uri="{FF2B5EF4-FFF2-40B4-BE49-F238E27FC236}">
                  <a16:creationId xmlns:a16="http://schemas.microsoft.com/office/drawing/2014/main" id="{F1D2A195-115F-489E-86C5-C6DE164B3B94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" name="Google Shape;470;p35">
              <a:extLst>
                <a:ext uri="{FF2B5EF4-FFF2-40B4-BE49-F238E27FC236}">
                  <a16:creationId xmlns:a16="http://schemas.microsoft.com/office/drawing/2014/main" id="{B2A677C6-DF59-4DB0-B754-B889FE3E252F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0" name="Google Shape;471;p35">
              <a:extLst>
                <a:ext uri="{FF2B5EF4-FFF2-40B4-BE49-F238E27FC236}">
                  <a16:creationId xmlns:a16="http://schemas.microsoft.com/office/drawing/2014/main" id="{4FF64BEB-907A-44D0-AF0F-D7771CDA3233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" name="Google Shape;472;p35">
              <a:extLst>
                <a:ext uri="{FF2B5EF4-FFF2-40B4-BE49-F238E27FC236}">
                  <a16:creationId xmlns:a16="http://schemas.microsoft.com/office/drawing/2014/main" id="{25571206-0AC7-4117-B054-684C20C85483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71300C5-1DE9-45A2-8238-9D83FE395EB9}"/>
              </a:ext>
            </a:extLst>
          </p:cNvPr>
          <p:cNvGrpSpPr/>
          <p:nvPr/>
        </p:nvGrpSpPr>
        <p:grpSpPr>
          <a:xfrm>
            <a:off x="3154292" y="2390675"/>
            <a:ext cx="2440480" cy="1573356"/>
            <a:chOff x="2365719" y="1793006"/>
            <a:chExt cx="1830360" cy="1180017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CAB60F45-7BF0-4914-AFF3-6CC196ED5631}"/>
                </a:ext>
              </a:extLst>
            </p:cNvPr>
            <p:cNvSpPr txBox="1"/>
            <p:nvPr/>
          </p:nvSpPr>
          <p:spPr>
            <a:xfrm>
              <a:off x="2917333" y="1793006"/>
              <a:ext cx="1278746" cy="10850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en-US" sz="1867" b="1" kern="0" dirty="0">
                  <a:solidFill>
                    <a:srgbClr val="FFFFFF"/>
                  </a:solidFill>
                  <a:latin typeface="Europa-Bold" panose="02000000000000000000" pitchFamily="2" charset="0"/>
                  <a:cs typeface="Arial"/>
                  <a:sym typeface="Barlow Condensed"/>
                </a:rPr>
                <a:t>First Theory of Change workshop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2</a:t>
              </a:r>
              <a:r>
                <a:rPr lang="en-US" sz="1600" kern="0" baseline="3000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nd</a:t>
              </a: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 to 3</a:t>
              </a:r>
              <a:r>
                <a:rPr lang="en-US" sz="1600" kern="0" baseline="3000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rd</a:t>
              </a: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 May 2019</a:t>
              </a:r>
              <a:endParaRPr lang="en-US" sz="1867" kern="0" dirty="0">
                <a:solidFill>
                  <a:srgbClr val="FFFFFF"/>
                </a:solidFill>
                <a:latin typeface="Europa-Regular" panose="02000000000000000000" pitchFamily="2" charset="0"/>
                <a:cs typeface="Arial"/>
                <a:sym typeface="Barlow Condensed"/>
              </a:endParaRPr>
            </a:p>
          </p:txBody>
        </p:sp>
        <p:grpSp>
          <p:nvGrpSpPr>
            <p:cNvPr id="106" name="Google Shape;3637;p64">
              <a:extLst>
                <a:ext uri="{FF2B5EF4-FFF2-40B4-BE49-F238E27FC236}">
                  <a16:creationId xmlns:a16="http://schemas.microsoft.com/office/drawing/2014/main" id="{155605C9-806F-4F63-BC20-90C0E686644C}"/>
                </a:ext>
              </a:extLst>
            </p:cNvPr>
            <p:cNvGrpSpPr/>
            <p:nvPr/>
          </p:nvGrpSpPr>
          <p:grpSpPr>
            <a:xfrm>
              <a:off x="2365719" y="2218151"/>
              <a:ext cx="483675" cy="754872"/>
              <a:chOff x="7248525" y="3739696"/>
              <a:chExt cx="230531" cy="359790"/>
            </a:xfrm>
          </p:grpSpPr>
          <p:sp>
            <p:nvSpPr>
              <p:cNvPr id="107" name="Google Shape;3638;p64">
                <a:extLst>
                  <a:ext uri="{FF2B5EF4-FFF2-40B4-BE49-F238E27FC236}">
                    <a16:creationId xmlns:a16="http://schemas.microsoft.com/office/drawing/2014/main" id="{6AFF1917-E5C7-4D5B-80CF-A25E86B57A11}"/>
                  </a:ext>
                </a:extLst>
              </p:cNvPr>
              <p:cNvSpPr/>
              <p:nvPr/>
            </p:nvSpPr>
            <p:spPr>
              <a:xfrm>
                <a:off x="7248525" y="3739696"/>
                <a:ext cx="230531" cy="359790"/>
              </a:xfrm>
              <a:custGeom>
                <a:avLst/>
                <a:gdLst/>
                <a:ahLst/>
                <a:cxnLst/>
                <a:rect l="l" t="t" r="r" b="b"/>
                <a:pathLst>
                  <a:path w="25354" h="39570" extrusionOk="0">
                    <a:moveTo>
                      <a:pt x="19434" y="18"/>
                    </a:moveTo>
                    <a:lnTo>
                      <a:pt x="6338" y="5"/>
                    </a:lnTo>
                    <a:cubicBezTo>
                      <a:pt x="2854" y="0"/>
                      <a:pt x="1" y="2858"/>
                      <a:pt x="1" y="6342"/>
                    </a:cubicBezTo>
                    <a:lnTo>
                      <a:pt x="1" y="19016"/>
                    </a:lnTo>
                    <a:cubicBezTo>
                      <a:pt x="1" y="29006"/>
                      <a:pt x="6280" y="22820"/>
                      <a:pt x="12679" y="39570"/>
                    </a:cubicBezTo>
                    <a:cubicBezTo>
                      <a:pt x="19074" y="22820"/>
                      <a:pt x="25354" y="29006"/>
                      <a:pt x="25354" y="19016"/>
                    </a:cubicBezTo>
                    <a:lnTo>
                      <a:pt x="25354" y="6342"/>
                    </a:lnTo>
                    <a:cubicBezTo>
                      <a:pt x="25354" y="2858"/>
                      <a:pt x="22923" y="18"/>
                      <a:pt x="19434" y="18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3639;p64">
                <a:extLst>
                  <a:ext uri="{FF2B5EF4-FFF2-40B4-BE49-F238E27FC236}">
                    <a16:creationId xmlns:a16="http://schemas.microsoft.com/office/drawing/2014/main" id="{8B9AD28B-429E-44EA-A07F-4B087900E10E}"/>
                  </a:ext>
                </a:extLst>
              </p:cNvPr>
              <p:cNvSpPr/>
              <p:nvPr/>
            </p:nvSpPr>
            <p:spPr>
              <a:xfrm>
                <a:off x="7271639" y="3762810"/>
                <a:ext cx="184350" cy="184387"/>
              </a:xfrm>
              <a:custGeom>
                <a:avLst/>
                <a:gdLst/>
                <a:ahLst/>
                <a:cxnLst/>
                <a:rect l="l" t="t" r="r" b="b"/>
                <a:pathLst>
                  <a:path w="20275" h="20279" extrusionOk="0">
                    <a:moveTo>
                      <a:pt x="3738" y="0"/>
                    </a:moveTo>
                    <a:lnTo>
                      <a:pt x="16532" y="0"/>
                    </a:lnTo>
                    <a:cubicBezTo>
                      <a:pt x="18594" y="5"/>
                      <a:pt x="20270" y="1680"/>
                      <a:pt x="20274" y="3742"/>
                    </a:cubicBezTo>
                    <a:lnTo>
                      <a:pt x="20274" y="16536"/>
                    </a:lnTo>
                    <a:cubicBezTo>
                      <a:pt x="20270" y="18598"/>
                      <a:pt x="18594" y="20274"/>
                      <a:pt x="16532" y="20278"/>
                    </a:cubicBezTo>
                    <a:lnTo>
                      <a:pt x="3738" y="20278"/>
                    </a:lnTo>
                    <a:cubicBezTo>
                      <a:pt x="1676" y="20274"/>
                      <a:pt x="5" y="18598"/>
                      <a:pt x="1" y="16536"/>
                    </a:cubicBezTo>
                    <a:lnTo>
                      <a:pt x="1" y="3742"/>
                    </a:lnTo>
                    <a:cubicBezTo>
                      <a:pt x="5" y="1680"/>
                      <a:pt x="1676" y="5"/>
                      <a:pt x="373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8F09D81-A965-49A1-B02C-9E020C959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28068" y="2260496"/>
              <a:ext cx="347954" cy="356123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A947F2A-591D-4EC1-BC72-0897B7C541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27775" y="2065632"/>
            <a:ext cx="1544184" cy="19402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D3E192-2F2D-4D5E-8E8C-E6BA610BFE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71959" y="2065632"/>
            <a:ext cx="1622666" cy="1933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799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35"/>
          <p:cNvSpPr/>
          <p:nvPr/>
        </p:nvSpPr>
        <p:spPr>
          <a:xfrm>
            <a:off x="14158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2" name="Google Shape;462;p35"/>
          <p:cNvSpPr/>
          <p:nvPr/>
        </p:nvSpPr>
        <p:spPr>
          <a:xfrm>
            <a:off x="14158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890A2C-F712-4E72-9772-6FCD72A3FD20}"/>
              </a:ext>
            </a:extLst>
          </p:cNvPr>
          <p:cNvSpPr/>
          <p:nvPr/>
        </p:nvSpPr>
        <p:spPr>
          <a:xfrm rot="5400000">
            <a:off x="-1652124" y="7470554"/>
            <a:ext cx="7099701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31" name="Google Shape;431;p35"/>
          <p:cNvSpPr/>
          <p:nvPr/>
        </p:nvSpPr>
        <p:spPr>
          <a:xfrm>
            <a:off x="71888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2" name="Google Shape;432;p35"/>
          <p:cNvSpPr/>
          <p:nvPr/>
        </p:nvSpPr>
        <p:spPr>
          <a:xfrm>
            <a:off x="79003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3" name="Google Shape;433;p35"/>
          <p:cNvSpPr/>
          <p:nvPr/>
        </p:nvSpPr>
        <p:spPr>
          <a:xfrm>
            <a:off x="861388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4" name="Google Shape;434;p35"/>
          <p:cNvSpPr/>
          <p:nvPr/>
        </p:nvSpPr>
        <p:spPr>
          <a:xfrm>
            <a:off x="9350981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5" name="Google Shape;435;p35"/>
          <p:cNvSpPr/>
          <p:nvPr/>
        </p:nvSpPr>
        <p:spPr>
          <a:xfrm>
            <a:off x="10062529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6" name="Google Shape;436;p35"/>
          <p:cNvSpPr/>
          <p:nvPr/>
        </p:nvSpPr>
        <p:spPr>
          <a:xfrm>
            <a:off x="107760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7" name="Google Shape;437;p35"/>
          <p:cNvSpPr/>
          <p:nvPr/>
        </p:nvSpPr>
        <p:spPr>
          <a:xfrm>
            <a:off x="11487576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8" name="Google Shape;438;p35"/>
          <p:cNvSpPr/>
          <p:nvPr/>
        </p:nvSpPr>
        <p:spPr>
          <a:xfrm>
            <a:off x="71888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9" name="Google Shape;439;p35"/>
          <p:cNvSpPr/>
          <p:nvPr/>
        </p:nvSpPr>
        <p:spPr>
          <a:xfrm>
            <a:off x="79003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0" name="Google Shape;440;p35"/>
          <p:cNvSpPr/>
          <p:nvPr/>
        </p:nvSpPr>
        <p:spPr>
          <a:xfrm>
            <a:off x="861388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1" name="Google Shape;441;p35"/>
          <p:cNvSpPr/>
          <p:nvPr/>
        </p:nvSpPr>
        <p:spPr>
          <a:xfrm>
            <a:off x="9350981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2" name="Google Shape;442;p35"/>
          <p:cNvSpPr/>
          <p:nvPr/>
        </p:nvSpPr>
        <p:spPr>
          <a:xfrm>
            <a:off x="10062529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3" name="Google Shape;443;p35"/>
          <p:cNvSpPr/>
          <p:nvPr/>
        </p:nvSpPr>
        <p:spPr>
          <a:xfrm>
            <a:off x="107760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4" name="Google Shape;444;p35"/>
          <p:cNvSpPr/>
          <p:nvPr/>
        </p:nvSpPr>
        <p:spPr>
          <a:xfrm>
            <a:off x="11487576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5" name="Google Shape;445;p35"/>
          <p:cNvSpPr/>
          <p:nvPr/>
        </p:nvSpPr>
        <p:spPr>
          <a:xfrm>
            <a:off x="215301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6" name="Google Shape;446;p35"/>
          <p:cNvSpPr/>
          <p:nvPr/>
        </p:nvSpPr>
        <p:spPr>
          <a:xfrm>
            <a:off x="28645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7" name="Google Shape;447;p35"/>
          <p:cNvSpPr/>
          <p:nvPr/>
        </p:nvSpPr>
        <p:spPr>
          <a:xfrm>
            <a:off x="3578020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8" name="Google Shape;448;p35"/>
          <p:cNvSpPr/>
          <p:nvPr/>
        </p:nvSpPr>
        <p:spPr>
          <a:xfrm>
            <a:off x="4315114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9" name="Google Shape;449;p35"/>
          <p:cNvSpPr/>
          <p:nvPr/>
        </p:nvSpPr>
        <p:spPr>
          <a:xfrm>
            <a:off x="5026663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0" name="Google Shape;450;p35"/>
          <p:cNvSpPr/>
          <p:nvPr/>
        </p:nvSpPr>
        <p:spPr>
          <a:xfrm>
            <a:off x="574015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1" name="Google Shape;451;p35"/>
          <p:cNvSpPr/>
          <p:nvPr/>
        </p:nvSpPr>
        <p:spPr>
          <a:xfrm>
            <a:off x="645170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2" name="Google Shape;452;p35"/>
          <p:cNvSpPr/>
          <p:nvPr/>
        </p:nvSpPr>
        <p:spPr>
          <a:xfrm>
            <a:off x="215301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3" name="Google Shape;453;p35"/>
          <p:cNvSpPr/>
          <p:nvPr/>
        </p:nvSpPr>
        <p:spPr>
          <a:xfrm>
            <a:off x="28645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4" name="Google Shape;454;p35"/>
          <p:cNvSpPr/>
          <p:nvPr/>
        </p:nvSpPr>
        <p:spPr>
          <a:xfrm>
            <a:off x="3578020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5" name="Google Shape;455;p35"/>
          <p:cNvSpPr/>
          <p:nvPr/>
        </p:nvSpPr>
        <p:spPr>
          <a:xfrm>
            <a:off x="4315114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6" name="Google Shape;456;p35"/>
          <p:cNvSpPr/>
          <p:nvPr/>
        </p:nvSpPr>
        <p:spPr>
          <a:xfrm>
            <a:off x="5026663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7" name="Google Shape;457;p35"/>
          <p:cNvSpPr/>
          <p:nvPr/>
        </p:nvSpPr>
        <p:spPr>
          <a:xfrm>
            <a:off x="574015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8" name="Google Shape;458;p35"/>
          <p:cNvSpPr/>
          <p:nvPr/>
        </p:nvSpPr>
        <p:spPr>
          <a:xfrm>
            <a:off x="645170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9" name="Google Shape;459;p35"/>
          <p:cNvSpPr/>
          <p:nvPr/>
        </p:nvSpPr>
        <p:spPr>
          <a:xfrm>
            <a:off x="7043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1" name="Google Shape;461;p35"/>
          <p:cNvSpPr/>
          <p:nvPr/>
        </p:nvSpPr>
        <p:spPr>
          <a:xfrm>
            <a:off x="7043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3" name="Google Shape;463;p35"/>
          <p:cNvSpPr/>
          <p:nvPr/>
        </p:nvSpPr>
        <p:spPr>
          <a:xfrm>
            <a:off x="-3274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4" name="Google Shape;464;p35"/>
          <p:cNvSpPr/>
          <p:nvPr/>
        </p:nvSpPr>
        <p:spPr>
          <a:xfrm>
            <a:off x="-3274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C0EB9AE-E09A-4E7F-A76C-DC8A7186A233}"/>
              </a:ext>
            </a:extLst>
          </p:cNvPr>
          <p:cNvGrpSpPr/>
          <p:nvPr/>
        </p:nvGrpSpPr>
        <p:grpSpPr>
          <a:xfrm rot="5400000">
            <a:off x="868730" y="4720023"/>
            <a:ext cx="1020101" cy="280672"/>
            <a:chOff x="797454" y="1257310"/>
            <a:chExt cx="1060958" cy="291913"/>
          </a:xfrm>
        </p:grpSpPr>
        <p:sp>
          <p:nvSpPr>
            <p:cNvPr id="465" name="Google Shape;465;p35"/>
            <p:cNvSpPr/>
            <p:nvPr/>
          </p:nvSpPr>
          <p:spPr>
            <a:xfrm rot="-5400000" flipH="1">
              <a:off x="1045758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6" name="Google Shape;466;p35"/>
            <p:cNvSpPr/>
            <p:nvPr/>
          </p:nvSpPr>
          <p:spPr>
            <a:xfrm rot="-5400000" flipH="1">
              <a:off x="773322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7" name="Google Shape;467;p35"/>
            <p:cNvSpPr/>
            <p:nvPr/>
          </p:nvSpPr>
          <p:spPr>
            <a:xfrm rot="-5400000" flipH="1">
              <a:off x="1318193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8" name="Google Shape;468;p35"/>
            <p:cNvSpPr/>
            <p:nvPr/>
          </p:nvSpPr>
          <p:spPr>
            <a:xfrm rot="-5400000" flipH="1">
              <a:off x="1590631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E2299BC-2C22-4282-8C38-948A7152A843}"/>
              </a:ext>
            </a:extLst>
          </p:cNvPr>
          <p:cNvGrpSpPr/>
          <p:nvPr/>
        </p:nvGrpSpPr>
        <p:grpSpPr>
          <a:xfrm rot="5400000">
            <a:off x="9224751" y="1642068"/>
            <a:ext cx="1414611" cy="389217"/>
            <a:chOff x="6638255" y="1866051"/>
            <a:chExt cx="1060958" cy="291913"/>
          </a:xfrm>
        </p:grpSpPr>
        <p:sp>
          <p:nvSpPr>
            <p:cNvPr id="473" name="Google Shape;473;p35"/>
            <p:cNvSpPr/>
            <p:nvPr/>
          </p:nvSpPr>
          <p:spPr>
            <a:xfrm rot="-5400000" flipH="1">
              <a:off x="6886559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4" name="Google Shape;474;p35"/>
            <p:cNvSpPr/>
            <p:nvPr/>
          </p:nvSpPr>
          <p:spPr>
            <a:xfrm rot="-5400000" flipH="1">
              <a:off x="6614123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5" name="Google Shape;475;p35"/>
            <p:cNvSpPr/>
            <p:nvPr/>
          </p:nvSpPr>
          <p:spPr>
            <a:xfrm rot="-5400000" flipH="1">
              <a:off x="71589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6" name="Google Shape;476;p35"/>
            <p:cNvSpPr/>
            <p:nvPr/>
          </p:nvSpPr>
          <p:spPr>
            <a:xfrm rot="-5400000" flipH="1">
              <a:off x="74314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3C232EF8-C97F-4DF6-A534-774D10CBA991}"/>
              </a:ext>
            </a:extLst>
          </p:cNvPr>
          <p:cNvSpPr/>
          <p:nvPr/>
        </p:nvSpPr>
        <p:spPr>
          <a:xfrm>
            <a:off x="1967635" y="4015042"/>
            <a:ext cx="8532091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1C0D1F-B4B3-4072-A112-9B41406267E7}"/>
              </a:ext>
            </a:extLst>
          </p:cNvPr>
          <p:cNvGrpSpPr/>
          <p:nvPr/>
        </p:nvGrpSpPr>
        <p:grpSpPr>
          <a:xfrm rot="10800000">
            <a:off x="3087988" y="4032329"/>
            <a:ext cx="1095105" cy="144651"/>
            <a:chOff x="2197874" y="3024247"/>
            <a:chExt cx="821329" cy="1084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F7C9134-D2A7-49AA-A9B9-98324DB27C5A}"/>
                </a:ext>
              </a:extLst>
            </p:cNvPr>
            <p:cNvGrpSpPr/>
            <p:nvPr/>
          </p:nvGrpSpPr>
          <p:grpSpPr>
            <a:xfrm>
              <a:off x="2197874" y="3031335"/>
              <a:ext cx="368535" cy="101400"/>
              <a:chOff x="3743854" y="1866049"/>
              <a:chExt cx="1060959" cy="291915"/>
            </a:xfrm>
          </p:grpSpPr>
          <p:sp>
            <p:nvSpPr>
              <p:cNvPr id="469" name="Google Shape;469;p35"/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0" name="Google Shape;470;p35"/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1" name="Google Shape;471;p35"/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72" name="Google Shape;472;p35"/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302C911-5F69-4607-8A2E-039BB670B14E}"/>
                </a:ext>
              </a:extLst>
            </p:cNvPr>
            <p:cNvGrpSpPr/>
            <p:nvPr/>
          </p:nvGrpSpPr>
          <p:grpSpPr>
            <a:xfrm>
              <a:off x="2650668" y="3024247"/>
              <a:ext cx="368535" cy="101400"/>
              <a:chOff x="3743854" y="1866049"/>
              <a:chExt cx="1060959" cy="291915"/>
            </a:xfrm>
          </p:grpSpPr>
          <p:sp>
            <p:nvSpPr>
              <p:cNvPr id="69" name="Google Shape;469;p35">
                <a:extLst>
                  <a:ext uri="{FF2B5EF4-FFF2-40B4-BE49-F238E27FC236}">
                    <a16:creationId xmlns:a16="http://schemas.microsoft.com/office/drawing/2014/main" id="{E4F36875-B55A-4805-964E-DDC266298746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470;p35">
                <a:extLst>
                  <a:ext uri="{FF2B5EF4-FFF2-40B4-BE49-F238E27FC236}">
                    <a16:creationId xmlns:a16="http://schemas.microsoft.com/office/drawing/2014/main" id="{A7339704-D630-46C0-A29B-247B7961241E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471;p35">
                <a:extLst>
                  <a:ext uri="{FF2B5EF4-FFF2-40B4-BE49-F238E27FC236}">
                    <a16:creationId xmlns:a16="http://schemas.microsoft.com/office/drawing/2014/main" id="{47567F50-BA87-4755-90EE-20D7FB036124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472;p35">
                <a:extLst>
                  <a:ext uri="{FF2B5EF4-FFF2-40B4-BE49-F238E27FC236}">
                    <a16:creationId xmlns:a16="http://schemas.microsoft.com/office/drawing/2014/main" id="{3DB3DF5D-B02A-4EC5-9CDE-3EE2BA300927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A64EF49-6977-426C-BD12-A20F3FFCF0BE}"/>
              </a:ext>
            </a:extLst>
          </p:cNvPr>
          <p:cNvSpPr/>
          <p:nvPr/>
        </p:nvSpPr>
        <p:spPr>
          <a:xfrm rot="5400000">
            <a:off x="6863514" y="565310"/>
            <a:ext cx="7099701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5950705-9993-44CB-A3CC-ED201D67A807}"/>
              </a:ext>
            </a:extLst>
          </p:cNvPr>
          <p:cNvGrpSpPr/>
          <p:nvPr/>
        </p:nvGrpSpPr>
        <p:grpSpPr>
          <a:xfrm rot="10800000">
            <a:off x="7139719" y="4038845"/>
            <a:ext cx="491380" cy="135200"/>
            <a:chOff x="3743854" y="1866049"/>
            <a:chExt cx="1060959" cy="291915"/>
          </a:xfrm>
        </p:grpSpPr>
        <p:sp>
          <p:nvSpPr>
            <p:cNvPr id="83" name="Google Shape;469;p35">
              <a:extLst>
                <a:ext uri="{FF2B5EF4-FFF2-40B4-BE49-F238E27FC236}">
                  <a16:creationId xmlns:a16="http://schemas.microsoft.com/office/drawing/2014/main" id="{91BF5180-B2AB-4107-BB18-93FDECA8E639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Google Shape;470;p35">
              <a:extLst>
                <a:ext uri="{FF2B5EF4-FFF2-40B4-BE49-F238E27FC236}">
                  <a16:creationId xmlns:a16="http://schemas.microsoft.com/office/drawing/2014/main" id="{8EB7EA8B-ECD3-47E2-A480-6C4414780106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5" name="Google Shape;471;p35">
              <a:extLst>
                <a:ext uri="{FF2B5EF4-FFF2-40B4-BE49-F238E27FC236}">
                  <a16:creationId xmlns:a16="http://schemas.microsoft.com/office/drawing/2014/main" id="{F53CB862-3B58-4D7B-9782-E47ED05DAA2C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" name="Google Shape;472;p35">
              <a:extLst>
                <a:ext uri="{FF2B5EF4-FFF2-40B4-BE49-F238E27FC236}">
                  <a16:creationId xmlns:a16="http://schemas.microsoft.com/office/drawing/2014/main" id="{3497195F-3A6F-4ABD-8E93-674DEE20715C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1D5AB28-CF29-4338-A4F1-297BF940AF9D}"/>
              </a:ext>
            </a:extLst>
          </p:cNvPr>
          <p:cNvGrpSpPr/>
          <p:nvPr/>
        </p:nvGrpSpPr>
        <p:grpSpPr>
          <a:xfrm rot="10800000">
            <a:off x="7743445" y="4038845"/>
            <a:ext cx="491380" cy="135200"/>
            <a:chOff x="3743854" y="1866049"/>
            <a:chExt cx="1060959" cy="291915"/>
          </a:xfrm>
        </p:grpSpPr>
        <p:sp>
          <p:nvSpPr>
            <p:cNvPr id="88" name="Google Shape;469;p35">
              <a:extLst>
                <a:ext uri="{FF2B5EF4-FFF2-40B4-BE49-F238E27FC236}">
                  <a16:creationId xmlns:a16="http://schemas.microsoft.com/office/drawing/2014/main" id="{F1D2A195-115F-489E-86C5-C6DE164B3B94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" name="Google Shape;470;p35">
              <a:extLst>
                <a:ext uri="{FF2B5EF4-FFF2-40B4-BE49-F238E27FC236}">
                  <a16:creationId xmlns:a16="http://schemas.microsoft.com/office/drawing/2014/main" id="{B2A677C6-DF59-4DB0-B754-B889FE3E252F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0" name="Google Shape;471;p35">
              <a:extLst>
                <a:ext uri="{FF2B5EF4-FFF2-40B4-BE49-F238E27FC236}">
                  <a16:creationId xmlns:a16="http://schemas.microsoft.com/office/drawing/2014/main" id="{4FF64BEB-907A-44D0-AF0F-D7771CDA3233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" name="Google Shape;472;p35">
              <a:extLst>
                <a:ext uri="{FF2B5EF4-FFF2-40B4-BE49-F238E27FC236}">
                  <a16:creationId xmlns:a16="http://schemas.microsoft.com/office/drawing/2014/main" id="{25571206-0AC7-4117-B054-684C20C85483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EA2FAE8-3894-41DB-BA51-BC6D6AD26442}"/>
              </a:ext>
            </a:extLst>
          </p:cNvPr>
          <p:cNvGrpSpPr/>
          <p:nvPr/>
        </p:nvGrpSpPr>
        <p:grpSpPr>
          <a:xfrm rot="10800000">
            <a:off x="6592517" y="4035429"/>
            <a:ext cx="491380" cy="135200"/>
            <a:chOff x="3743854" y="1866049"/>
            <a:chExt cx="1060959" cy="291915"/>
          </a:xfrm>
        </p:grpSpPr>
        <p:sp>
          <p:nvSpPr>
            <p:cNvPr id="95" name="Google Shape;469;p35">
              <a:extLst>
                <a:ext uri="{FF2B5EF4-FFF2-40B4-BE49-F238E27FC236}">
                  <a16:creationId xmlns:a16="http://schemas.microsoft.com/office/drawing/2014/main" id="{64CE39BA-2428-481F-99C4-782EE4F8EACF}"/>
                </a:ext>
              </a:extLst>
            </p:cNvPr>
            <p:cNvSpPr/>
            <p:nvPr/>
          </p:nvSpPr>
          <p:spPr>
            <a:xfrm rot="16200000" flipH="1">
              <a:off x="3992159" y="189018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6" name="Google Shape;470;p35">
              <a:extLst>
                <a:ext uri="{FF2B5EF4-FFF2-40B4-BE49-F238E27FC236}">
                  <a16:creationId xmlns:a16="http://schemas.microsoft.com/office/drawing/2014/main" id="{43867037-A50A-4D72-AFB3-91EA928E6B6F}"/>
                </a:ext>
              </a:extLst>
            </p:cNvPr>
            <p:cNvSpPr/>
            <p:nvPr/>
          </p:nvSpPr>
          <p:spPr>
            <a:xfrm rot="16200000" flipH="1">
              <a:off x="3719722" y="1890181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CFD9E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" name="Google Shape;471;p35">
              <a:extLst>
                <a:ext uri="{FF2B5EF4-FFF2-40B4-BE49-F238E27FC236}">
                  <a16:creationId xmlns:a16="http://schemas.microsoft.com/office/drawing/2014/main" id="{54419166-24D0-4F05-B830-AF7B45D72DDE}"/>
                </a:ext>
              </a:extLst>
            </p:cNvPr>
            <p:cNvSpPr/>
            <p:nvPr/>
          </p:nvSpPr>
          <p:spPr>
            <a:xfrm rot="-5400000" flipH="1">
              <a:off x="42645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" name="Google Shape;472;p35">
              <a:extLst>
                <a:ext uri="{FF2B5EF4-FFF2-40B4-BE49-F238E27FC236}">
                  <a16:creationId xmlns:a16="http://schemas.microsoft.com/office/drawing/2014/main" id="{018439C0-BB23-498E-8D7C-6C635A2420D4}"/>
                </a:ext>
              </a:extLst>
            </p:cNvPr>
            <p:cNvSpPr/>
            <p:nvPr/>
          </p:nvSpPr>
          <p:spPr>
            <a:xfrm rot="-5400000" flipH="1">
              <a:off x="45370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C87DC168-56F7-4FAF-8730-377FEE786C4D}"/>
              </a:ext>
            </a:extLst>
          </p:cNvPr>
          <p:cNvGrpSpPr/>
          <p:nvPr/>
        </p:nvGrpSpPr>
        <p:grpSpPr>
          <a:xfrm rot="10800000">
            <a:off x="1896701" y="4043124"/>
            <a:ext cx="1095105" cy="144651"/>
            <a:chOff x="2197874" y="3024247"/>
            <a:chExt cx="821329" cy="108488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6E848808-0888-4629-BA21-105320228E74}"/>
                </a:ext>
              </a:extLst>
            </p:cNvPr>
            <p:cNvGrpSpPr/>
            <p:nvPr/>
          </p:nvGrpSpPr>
          <p:grpSpPr>
            <a:xfrm>
              <a:off x="2197874" y="3031335"/>
              <a:ext cx="368535" cy="101400"/>
              <a:chOff x="3743854" y="1866049"/>
              <a:chExt cx="1060959" cy="291915"/>
            </a:xfrm>
          </p:grpSpPr>
          <p:sp>
            <p:nvSpPr>
              <p:cNvPr id="106" name="Google Shape;469;p35">
                <a:extLst>
                  <a:ext uri="{FF2B5EF4-FFF2-40B4-BE49-F238E27FC236}">
                    <a16:creationId xmlns:a16="http://schemas.microsoft.com/office/drawing/2014/main" id="{4BCBE6AD-5B1B-47A7-B90C-96DD935FF48E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7" name="Google Shape;470;p35">
                <a:extLst>
                  <a:ext uri="{FF2B5EF4-FFF2-40B4-BE49-F238E27FC236}">
                    <a16:creationId xmlns:a16="http://schemas.microsoft.com/office/drawing/2014/main" id="{33A97E77-E28C-44EC-AA46-60D63C83FD01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471;p35">
                <a:extLst>
                  <a:ext uri="{FF2B5EF4-FFF2-40B4-BE49-F238E27FC236}">
                    <a16:creationId xmlns:a16="http://schemas.microsoft.com/office/drawing/2014/main" id="{ECF9A30E-1EE3-4E1F-9FB9-E1CE02B2C9BC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9" name="Google Shape;472;p35">
                <a:extLst>
                  <a:ext uri="{FF2B5EF4-FFF2-40B4-BE49-F238E27FC236}">
                    <a16:creationId xmlns:a16="http://schemas.microsoft.com/office/drawing/2014/main" id="{B27F537C-9A62-42D7-9E7E-41620795454A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39C3762F-0574-4FB4-9A4A-5E857C30DBE4}"/>
                </a:ext>
              </a:extLst>
            </p:cNvPr>
            <p:cNvGrpSpPr/>
            <p:nvPr/>
          </p:nvGrpSpPr>
          <p:grpSpPr>
            <a:xfrm>
              <a:off x="2650668" y="3024247"/>
              <a:ext cx="368535" cy="101400"/>
              <a:chOff x="3743854" y="1866049"/>
              <a:chExt cx="1060959" cy="291915"/>
            </a:xfrm>
          </p:grpSpPr>
          <p:sp>
            <p:nvSpPr>
              <p:cNvPr id="102" name="Google Shape;469;p35">
                <a:extLst>
                  <a:ext uri="{FF2B5EF4-FFF2-40B4-BE49-F238E27FC236}">
                    <a16:creationId xmlns:a16="http://schemas.microsoft.com/office/drawing/2014/main" id="{F2C9CE7A-2DBB-448A-BE0E-A67240891378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470;p35">
                <a:extLst>
                  <a:ext uri="{FF2B5EF4-FFF2-40B4-BE49-F238E27FC236}">
                    <a16:creationId xmlns:a16="http://schemas.microsoft.com/office/drawing/2014/main" id="{CCEDD3BC-F819-4917-8F40-CE3B2ACACAB8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4" name="Google Shape;471;p35">
                <a:extLst>
                  <a:ext uri="{FF2B5EF4-FFF2-40B4-BE49-F238E27FC236}">
                    <a16:creationId xmlns:a16="http://schemas.microsoft.com/office/drawing/2014/main" id="{9C4E5033-37EE-4550-A2E0-8AE55D3C236D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" name="Google Shape;472;p35">
                <a:extLst>
                  <a:ext uri="{FF2B5EF4-FFF2-40B4-BE49-F238E27FC236}">
                    <a16:creationId xmlns:a16="http://schemas.microsoft.com/office/drawing/2014/main" id="{51FA4475-ED92-4FCE-BB38-4C8856A93229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09903F80-FBB8-4064-9101-6DDE16F219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05398" y="3590037"/>
            <a:ext cx="493133" cy="439391"/>
          </a:xfrm>
          <a:prstGeom prst="rect">
            <a:avLst/>
          </a:prstGeom>
        </p:spPr>
      </p:pic>
      <p:sp>
        <p:nvSpPr>
          <p:cNvPr id="6" name="Google Shape;4662;p65">
            <a:extLst>
              <a:ext uri="{FF2B5EF4-FFF2-40B4-BE49-F238E27FC236}">
                <a16:creationId xmlns:a16="http://schemas.microsoft.com/office/drawing/2014/main" id="{55E0E7FD-0F2B-4C0F-9B8F-E59A7F590E0C}"/>
              </a:ext>
            </a:extLst>
          </p:cNvPr>
          <p:cNvSpPr/>
          <p:nvPr/>
        </p:nvSpPr>
        <p:spPr>
          <a:xfrm>
            <a:off x="2373862" y="3331463"/>
            <a:ext cx="220703" cy="220775"/>
          </a:xfrm>
          <a:custGeom>
            <a:avLst/>
            <a:gdLst/>
            <a:ahLst/>
            <a:cxnLst/>
            <a:rect l="l" t="t" r="r" b="b"/>
            <a:pathLst>
              <a:path w="22903" h="22901" extrusionOk="0">
                <a:moveTo>
                  <a:pt x="11452" y="4551"/>
                </a:moveTo>
                <a:cubicBezTo>
                  <a:pt x="15263" y="4551"/>
                  <a:pt x="18352" y="7640"/>
                  <a:pt x="18352" y="11451"/>
                </a:cubicBezTo>
                <a:cubicBezTo>
                  <a:pt x="18352" y="15262"/>
                  <a:pt x="15263" y="18350"/>
                  <a:pt x="11452" y="18350"/>
                </a:cubicBezTo>
                <a:lnTo>
                  <a:pt x="11452" y="18351"/>
                </a:lnTo>
                <a:cubicBezTo>
                  <a:pt x="7640" y="18351"/>
                  <a:pt x="4552" y="15262"/>
                  <a:pt x="4552" y="11451"/>
                </a:cubicBezTo>
                <a:cubicBezTo>
                  <a:pt x="4552" y="7640"/>
                  <a:pt x="7640" y="4551"/>
                  <a:pt x="11452" y="4551"/>
                </a:cubicBezTo>
                <a:close/>
                <a:moveTo>
                  <a:pt x="9850" y="0"/>
                </a:moveTo>
                <a:cubicBezTo>
                  <a:pt x="9464" y="0"/>
                  <a:pt x="9152" y="312"/>
                  <a:pt x="9152" y="698"/>
                </a:cubicBezTo>
                <a:lnTo>
                  <a:pt x="9152" y="2564"/>
                </a:lnTo>
                <a:cubicBezTo>
                  <a:pt x="8324" y="2777"/>
                  <a:pt x="7530" y="3105"/>
                  <a:pt x="6793" y="3539"/>
                </a:cubicBezTo>
                <a:lnTo>
                  <a:pt x="5474" y="2221"/>
                </a:lnTo>
                <a:cubicBezTo>
                  <a:pt x="5338" y="2085"/>
                  <a:pt x="5159" y="2017"/>
                  <a:pt x="4981" y="2017"/>
                </a:cubicBezTo>
                <a:cubicBezTo>
                  <a:pt x="4802" y="2017"/>
                  <a:pt x="4624" y="2085"/>
                  <a:pt x="4487" y="2221"/>
                </a:cubicBezTo>
                <a:lnTo>
                  <a:pt x="2222" y="4487"/>
                </a:lnTo>
                <a:cubicBezTo>
                  <a:pt x="1949" y="4759"/>
                  <a:pt x="1949" y="5201"/>
                  <a:pt x="2222" y="5473"/>
                </a:cubicBezTo>
                <a:lnTo>
                  <a:pt x="3541" y="6791"/>
                </a:lnTo>
                <a:cubicBezTo>
                  <a:pt x="3107" y="7528"/>
                  <a:pt x="2777" y="8322"/>
                  <a:pt x="2564" y="9150"/>
                </a:cubicBezTo>
                <a:lnTo>
                  <a:pt x="699" y="9150"/>
                </a:lnTo>
                <a:cubicBezTo>
                  <a:pt x="313" y="9150"/>
                  <a:pt x="1" y="9462"/>
                  <a:pt x="1" y="9848"/>
                </a:cubicBezTo>
                <a:lnTo>
                  <a:pt x="1" y="13053"/>
                </a:lnTo>
                <a:cubicBezTo>
                  <a:pt x="1" y="13438"/>
                  <a:pt x="313" y="13751"/>
                  <a:pt x="699" y="13751"/>
                </a:cubicBezTo>
                <a:lnTo>
                  <a:pt x="2564" y="13751"/>
                </a:lnTo>
                <a:cubicBezTo>
                  <a:pt x="2777" y="14579"/>
                  <a:pt x="3106" y="15373"/>
                  <a:pt x="3541" y="16109"/>
                </a:cubicBezTo>
                <a:lnTo>
                  <a:pt x="2222" y="17427"/>
                </a:lnTo>
                <a:cubicBezTo>
                  <a:pt x="1949" y="17701"/>
                  <a:pt x="1949" y="18142"/>
                  <a:pt x="2222" y="18415"/>
                </a:cubicBezTo>
                <a:lnTo>
                  <a:pt x="4487" y="20681"/>
                </a:lnTo>
                <a:cubicBezTo>
                  <a:pt x="4624" y="20817"/>
                  <a:pt x="4802" y="20885"/>
                  <a:pt x="4981" y="20885"/>
                </a:cubicBezTo>
                <a:cubicBezTo>
                  <a:pt x="5159" y="20885"/>
                  <a:pt x="5338" y="20817"/>
                  <a:pt x="5474" y="20681"/>
                </a:cubicBezTo>
                <a:lnTo>
                  <a:pt x="6793" y="19362"/>
                </a:lnTo>
                <a:cubicBezTo>
                  <a:pt x="7530" y="19796"/>
                  <a:pt x="8324" y="20124"/>
                  <a:pt x="9152" y="20339"/>
                </a:cubicBezTo>
                <a:lnTo>
                  <a:pt x="9152" y="22204"/>
                </a:lnTo>
                <a:cubicBezTo>
                  <a:pt x="9152" y="22588"/>
                  <a:pt x="9464" y="22901"/>
                  <a:pt x="9850" y="22901"/>
                </a:cubicBezTo>
                <a:lnTo>
                  <a:pt x="13055" y="22901"/>
                </a:lnTo>
                <a:cubicBezTo>
                  <a:pt x="13439" y="22901"/>
                  <a:pt x="13751" y="22588"/>
                  <a:pt x="13751" y="22204"/>
                </a:cubicBezTo>
                <a:lnTo>
                  <a:pt x="13751" y="20339"/>
                </a:lnTo>
                <a:cubicBezTo>
                  <a:pt x="14581" y="20124"/>
                  <a:pt x="15373" y="19796"/>
                  <a:pt x="16110" y="19362"/>
                </a:cubicBezTo>
                <a:lnTo>
                  <a:pt x="17429" y="20680"/>
                </a:lnTo>
                <a:cubicBezTo>
                  <a:pt x="17566" y="20816"/>
                  <a:pt x="17744" y="20884"/>
                  <a:pt x="17923" y="20884"/>
                </a:cubicBezTo>
                <a:cubicBezTo>
                  <a:pt x="18101" y="20884"/>
                  <a:pt x="18280" y="20816"/>
                  <a:pt x="18416" y="20680"/>
                </a:cubicBezTo>
                <a:lnTo>
                  <a:pt x="20682" y="18414"/>
                </a:lnTo>
                <a:cubicBezTo>
                  <a:pt x="20954" y="18142"/>
                  <a:pt x="20954" y="17700"/>
                  <a:pt x="20682" y="17427"/>
                </a:cubicBezTo>
                <a:lnTo>
                  <a:pt x="19364" y="16109"/>
                </a:lnTo>
                <a:cubicBezTo>
                  <a:pt x="19798" y="15373"/>
                  <a:pt x="20126" y="14579"/>
                  <a:pt x="20339" y="13751"/>
                </a:cubicBezTo>
                <a:lnTo>
                  <a:pt x="22205" y="13751"/>
                </a:lnTo>
                <a:cubicBezTo>
                  <a:pt x="22591" y="13751"/>
                  <a:pt x="22903" y="13438"/>
                  <a:pt x="22903" y="13053"/>
                </a:cubicBezTo>
                <a:lnTo>
                  <a:pt x="22903" y="9850"/>
                </a:lnTo>
                <a:cubicBezTo>
                  <a:pt x="22903" y="9465"/>
                  <a:pt x="22592" y="9152"/>
                  <a:pt x="22208" y="9152"/>
                </a:cubicBezTo>
                <a:cubicBezTo>
                  <a:pt x="22207" y="9152"/>
                  <a:pt x="22206" y="9152"/>
                  <a:pt x="22205" y="9152"/>
                </a:cubicBezTo>
                <a:lnTo>
                  <a:pt x="20339" y="9152"/>
                </a:lnTo>
                <a:cubicBezTo>
                  <a:pt x="20126" y="8322"/>
                  <a:pt x="19798" y="7530"/>
                  <a:pt x="19364" y="6793"/>
                </a:cubicBezTo>
                <a:lnTo>
                  <a:pt x="20682" y="5473"/>
                </a:lnTo>
                <a:cubicBezTo>
                  <a:pt x="20954" y="5201"/>
                  <a:pt x="20954" y="4759"/>
                  <a:pt x="20682" y="4487"/>
                </a:cubicBezTo>
                <a:lnTo>
                  <a:pt x="18416" y="2221"/>
                </a:lnTo>
                <a:cubicBezTo>
                  <a:pt x="18280" y="2085"/>
                  <a:pt x="18101" y="2017"/>
                  <a:pt x="17923" y="2017"/>
                </a:cubicBezTo>
                <a:cubicBezTo>
                  <a:pt x="17744" y="2017"/>
                  <a:pt x="17566" y="2085"/>
                  <a:pt x="17429" y="2221"/>
                </a:cubicBezTo>
                <a:lnTo>
                  <a:pt x="16110" y="3541"/>
                </a:lnTo>
                <a:cubicBezTo>
                  <a:pt x="15373" y="3105"/>
                  <a:pt x="14581" y="2777"/>
                  <a:pt x="13751" y="2564"/>
                </a:cubicBezTo>
                <a:lnTo>
                  <a:pt x="13751" y="698"/>
                </a:lnTo>
                <a:cubicBezTo>
                  <a:pt x="13751" y="312"/>
                  <a:pt x="13439" y="0"/>
                  <a:pt x="130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4662;p65">
            <a:extLst>
              <a:ext uri="{FF2B5EF4-FFF2-40B4-BE49-F238E27FC236}">
                <a16:creationId xmlns:a16="http://schemas.microsoft.com/office/drawing/2014/main" id="{62FDC920-B55C-41FA-9B64-27CB242D87CB}"/>
              </a:ext>
            </a:extLst>
          </p:cNvPr>
          <p:cNvSpPr/>
          <p:nvPr/>
        </p:nvSpPr>
        <p:spPr>
          <a:xfrm>
            <a:off x="2497385" y="3527637"/>
            <a:ext cx="220703" cy="220775"/>
          </a:xfrm>
          <a:custGeom>
            <a:avLst/>
            <a:gdLst/>
            <a:ahLst/>
            <a:cxnLst/>
            <a:rect l="l" t="t" r="r" b="b"/>
            <a:pathLst>
              <a:path w="22903" h="22901" extrusionOk="0">
                <a:moveTo>
                  <a:pt x="11452" y="4551"/>
                </a:moveTo>
                <a:cubicBezTo>
                  <a:pt x="15263" y="4551"/>
                  <a:pt x="18352" y="7640"/>
                  <a:pt x="18352" y="11451"/>
                </a:cubicBezTo>
                <a:cubicBezTo>
                  <a:pt x="18352" y="15262"/>
                  <a:pt x="15263" y="18350"/>
                  <a:pt x="11452" y="18350"/>
                </a:cubicBezTo>
                <a:lnTo>
                  <a:pt x="11452" y="18351"/>
                </a:lnTo>
                <a:cubicBezTo>
                  <a:pt x="7640" y="18351"/>
                  <a:pt x="4552" y="15262"/>
                  <a:pt x="4552" y="11451"/>
                </a:cubicBezTo>
                <a:cubicBezTo>
                  <a:pt x="4552" y="7640"/>
                  <a:pt x="7640" y="4551"/>
                  <a:pt x="11452" y="4551"/>
                </a:cubicBezTo>
                <a:close/>
                <a:moveTo>
                  <a:pt x="9850" y="0"/>
                </a:moveTo>
                <a:cubicBezTo>
                  <a:pt x="9464" y="0"/>
                  <a:pt x="9152" y="312"/>
                  <a:pt x="9152" y="698"/>
                </a:cubicBezTo>
                <a:lnTo>
                  <a:pt x="9152" y="2564"/>
                </a:lnTo>
                <a:cubicBezTo>
                  <a:pt x="8324" y="2777"/>
                  <a:pt x="7530" y="3105"/>
                  <a:pt x="6793" y="3539"/>
                </a:cubicBezTo>
                <a:lnTo>
                  <a:pt x="5474" y="2221"/>
                </a:lnTo>
                <a:cubicBezTo>
                  <a:pt x="5338" y="2085"/>
                  <a:pt x="5159" y="2017"/>
                  <a:pt x="4981" y="2017"/>
                </a:cubicBezTo>
                <a:cubicBezTo>
                  <a:pt x="4802" y="2017"/>
                  <a:pt x="4624" y="2085"/>
                  <a:pt x="4487" y="2221"/>
                </a:cubicBezTo>
                <a:lnTo>
                  <a:pt x="2222" y="4487"/>
                </a:lnTo>
                <a:cubicBezTo>
                  <a:pt x="1949" y="4759"/>
                  <a:pt x="1949" y="5201"/>
                  <a:pt x="2222" y="5473"/>
                </a:cubicBezTo>
                <a:lnTo>
                  <a:pt x="3541" y="6791"/>
                </a:lnTo>
                <a:cubicBezTo>
                  <a:pt x="3107" y="7528"/>
                  <a:pt x="2777" y="8322"/>
                  <a:pt x="2564" y="9150"/>
                </a:cubicBezTo>
                <a:lnTo>
                  <a:pt x="699" y="9150"/>
                </a:lnTo>
                <a:cubicBezTo>
                  <a:pt x="313" y="9150"/>
                  <a:pt x="1" y="9462"/>
                  <a:pt x="1" y="9848"/>
                </a:cubicBezTo>
                <a:lnTo>
                  <a:pt x="1" y="13053"/>
                </a:lnTo>
                <a:cubicBezTo>
                  <a:pt x="1" y="13438"/>
                  <a:pt x="313" y="13751"/>
                  <a:pt x="699" y="13751"/>
                </a:cubicBezTo>
                <a:lnTo>
                  <a:pt x="2564" y="13751"/>
                </a:lnTo>
                <a:cubicBezTo>
                  <a:pt x="2777" y="14579"/>
                  <a:pt x="3106" y="15373"/>
                  <a:pt x="3541" y="16109"/>
                </a:cubicBezTo>
                <a:lnTo>
                  <a:pt x="2222" y="17427"/>
                </a:lnTo>
                <a:cubicBezTo>
                  <a:pt x="1949" y="17701"/>
                  <a:pt x="1949" y="18142"/>
                  <a:pt x="2222" y="18415"/>
                </a:cubicBezTo>
                <a:lnTo>
                  <a:pt x="4487" y="20681"/>
                </a:lnTo>
                <a:cubicBezTo>
                  <a:pt x="4624" y="20817"/>
                  <a:pt x="4802" y="20885"/>
                  <a:pt x="4981" y="20885"/>
                </a:cubicBezTo>
                <a:cubicBezTo>
                  <a:pt x="5159" y="20885"/>
                  <a:pt x="5338" y="20817"/>
                  <a:pt x="5474" y="20681"/>
                </a:cubicBezTo>
                <a:lnTo>
                  <a:pt x="6793" y="19362"/>
                </a:lnTo>
                <a:cubicBezTo>
                  <a:pt x="7530" y="19796"/>
                  <a:pt x="8324" y="20124"/>
                  <a:pt x="9152" y="20339"/>
                </a:cubicBezTo>
                <a:lnTo>
                  <a:pt x="9152" y="22204"/>
                </a:lnTo>
                <a:cubicBezTo>
                  <a:pt x="9152" y="22588"/>
                  <a:pt x="9464" y="22901"/>
                  <a:pt x="9850" y="22901"/>
                </a:cubicBezTo>
                <a:lnTo>
                  <a:pt x="13055" y="22901"/>
                </a:lnTo>
                <a:cubicBezTo>
                  <a:pt x="13439" y="22901"/>
                  <a:pt x="13751" y="22588"/>
                  <a:pt x="13751" y="22204"/>
                </a:cubicBezTo>
                <a:lnTo>
                  <a:pt x="13751" y="20339"/>
                </a:lnTo>
                <a:cubicBezTo>
                  <a:pt x="14581" y="20124"/>
                  <a:pt x="15373" y="19796"/>
                  <a:pt x="16110" y="19362"/>
                </a:cubicBezTo>
                <a:lnTo>
                  <a:pt x="17429" y="20680"/>
                </a:lnTo>
                <a:cubicBezTo>
                  <a:pt x="17566" y="20816"/>
                  <a:pt x="17744" y="20884"/>
                  <a:pt x="17923" y="20884"/>
                </a:cubicBezTo>
                <a:cubicBezTo>
                  <a:pt x="18101" y="20884"/>
                  <a:pt x="18280" y="20816"/>
                  <a:pt x="18416" y="20680"/>
                </a:cubicBezTo>
                <a:lnTo>
                  <a:pt x="20682" y="18414"/>
                </a:lnTo>
                <a:cubicBezTo>
                  <a:pt x="20954" y="18142"/>
                  <a:pt x="20954" y="17700"/>
                  <a:pt x="20682" y="17427"/>
                </a:cubicBezTo>
                <a:lnTo>
                  <a:pt x="19364" y="16109"/>
                </a:lnTo>
                <a:cubicBezTo>
                  <a:pt x="19798" y="15373"/>
                  <a:pt x="20126" y="14579"/>
                  <a:pt x="20339" y="13751"/>
                </a:cubicBezTo>
                <a:lnTo>
                  <a:pt x="22205" y="13751"/>
                </a:lnTo>
                <a:cubicBezTo>
                  <a:pt x="22591" y="13751"/>
                  <a:pt x="22903" y="13438"/>
                  <a:pt x="22903" y="13053"/>
                </a:cubicBezTo>
                <a:lnTo>
                  <a:pt x="22903" y="9850"/>
                </a:lnTo>
                <a:cubicBezTo>
                  <a:pt x="22903" y="9465"/>
                  <a:pt x="22592" y="9152"/>
                  <a:pt x="22208" y="9152"/>
                </a:cubicBezTo>
                <a:cubicBezTo>
                  <a:pt x="22207" y="9152"/>
                  <a:pt x="22206" y="9152"/>
                  <a:pt x="22205" y="9152"/>
                </a:cubicBezTo>
                <a:lnTo>
                  <a:pt x="20339" y="9152"/>
                </a:lnTo>
                <a:cubicBezTo>
                  <a:pt x="20126" y="8322"/>
                  <a:pt x="19798" y="7530"/>
                  <a:pt x="19364" y="6793"/>
                </a:cubicBezTo>
                <a:lnTo>
                  <a:pt x="20682" y="5473"/>
                </a:lnTo>
                <a:cubicBezTo>
                  <a:pt x="20954" y="5201"/>
                  <a:pt x="20954" y="4759"/>
                  <a:pt x="20682" y="4487"/>
                </a:cubicBezTo>
                <a:lnTo>
                  <a:pt x="18416" y="2221"/>
                </a:lnTo>
                <a:cubicBezTo>
                  <a:pt x="18280" y="2085"/>
                  <a:pt x="18101" y="2017"/>
                  <a:pt x="17923" y="2017"/>
                </a:cubicBezTo>
                <a:cubicBezTo>
                  <a:pt x="17744" y="2017"/>
                  <a:pt x="17566" y="2085"/>
                  <a:pt x="17429" y="2221"/>
                </a:cubicBezTo>
                <a:lnTo>
                  <a:pt x="16110" y="3541"/>
                </a:lnTo>
                <a:cubicBezTo>
                  <a:pt x="15373" y="3105"/>
                  <a:pt x="14581" y="2777"/>
                  <a:pt x="13751" y="2564"/>
                </a:cubicBezTo>
                <a:lnTo>
                  <a:pt x="13751" y="698"/>
                </a:lnTo>
                <a:cubicBezTo>
                  <a:pt x="13751" y="312"/>
                  <a:pt x="13439" y="0"/>
                  <a:pt x="130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F584E6F-620B-4681-8680-6B1C339CAD9A}"/>
              </a:ext>
            </a:extLst>
          </p:cNvPr>
          <p:cNvGrpSpPr/>
          <p:nvPr/>
        </p:nvGrpSpPr>
        <p:grpSpPr>
          <a:xfrm>
            <a:off x="7350348" y="2696902"/>
            <a:ext cx="2414121" cy="1006495"/>
            <a:chOff x="5509739" y="2194314"/>
            <a:chExt cx="1810591" cy="754872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2F3C829A-ADE1-405A-AE5B-54F5B38A8C52}"/>
                </a:ext>
              </a:extLst>
            </p:cNvPr>
            <p:cNvSpPr txBox="1"/>
            <p:nvPr/>
          </p:nvSpPr>
          <p:spPr>
            <a:xfrm>
              <a:off x="6041584" y="2194314"/>
              <a:ext cx="1278746" cy="6849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1867" b="1" kern="0" dirty="0">
                  <a:solidFill>
                    <a:srgbClr val="FFFFFF"/>
                  </a:solidFill>
                  <a:latin typeface="Europa-Bold" panose="02000000000000000000" pitchFamily="2" charset="0"/>
                  <a:cs typeface="Arial"/>
                  <a:sym typeface="Barlow Condensed"/>
                </a:rPr>
                <a:t>First Wave of COVID</a:t>
              </a:r>
            </a:p>
            <a:p>
              <a:pPr defTabSz="1219170">
                <a:buClr>
                  <a:srgbClr val="000000"/>
                </a:buClr>
              </a:pP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 March 2020</a:t>
              </a:r>
              <a:endParaRPr lang="en-US" sz="1867" kern="0" dirty="0">
                <a:solidFill>
                  <a:srgbClr val="FFFFFF"/>
                </a:solidFill>
                <a:latin typeface="Europa-Regular" panose="02000000000000000000" pitchFamily="2" charset="0"/>
                <a:cs typeface="Arial"/>
                <a:sym typeface="Barlow Condensed"/>
              </a:endParaRPr>
            </a:p>
          </p:txBody>
        </p:sp>
        <p:grpSp>
          <p:nvGrpSpPr>
            <p:cNvPr id="92" name="Google Shape;3637;p64">
              <a:extLst>
                <a:ext uri="{FF2B5EF4-FFF2-40B4-BE49-F238E27FC236}">
                  <a16:creationId xmlns:a16="http://schemas.microsoft.com/office/drawing/2014/main" id="{824E35F0-2092-4C0C-A638-BFAA20A58992}"/>
                </a:ext>
              </a:extLst>
            </p:cNvPr>
            <p:cNvGrpSpPr/>
            <p:nvPr/>
          </p:nvGrpSpPr>
          <p:grpSpPr>
            <a:xfrm>
              <a:off x="5509739" y="2194314"/>
              <a:ext cx="483675" cy="754872"/>
              <a:chOff x="7248525" y="3739696"/>
              <a:chExt cx="230531" cy="359790"/>
            </a:xfrm>
          </p:grpSpPr>
          <p:sp>
            <p:nvSpPr>
              <p:cNvPr id="93" name="Google Shape;3638;p64">
                <a:extLst>
                  <a:ext uri="{FF2B5EF4-FFF2-40B4-BE49-F238E27FC236}">
                    <a16:creationId xmlns:a16="http://schemas.microsoft.com/office/drawing/2014/main" id="{4CA8E2D7-A11F-44DF-BF91-833A8B074123}"/>
                  </a:ext>
                </a:extLst>
              </p:cNvPr>
              <p:cNvSpPr/>
              <p:nvPr/>
            </p:nvSpPr>
            <p:spPr>
              <a:xfrm>
                <a:off x="7248525" y="3739696"/>
                <a:ext cx="230531" cy="359790"/>
              </a:xfrm>
              <a:custGeom>
                <a:avLst/>
                <a:gdLst/>
                <a:ahLst/>
                <a:cxnLst/>
                <a:rect l="l" t="t" r="r" b="b"/>
                <a:pathLst>
                  <a:path w="25354" h="39570" extrusionOk="0">
                    <a:moveTo>
                      <a:pt x="19434" y="18"/>
                    </a:moveTo>
                    <a:lnTo>
                      <a:pt x="6338" y="5"/>
                    </a:lnTo>
                    <a:cubicBezTo>
                      <a:pt x="2854" y="0"/>
                      <a:pt x="1" y="2858"/>
                      <a:pt x="1" y="6342"/>
                    </a:cubicBezTo>
                    <a:lnTo>
                      <a:pt x="1" y="19016"/>
                    </a:lnTo>
                    <a:cubicBezTo>
                      <a:pt x="1" y="29006"/>
                      <a:pt x="6280" y="22820"/>
                      <a:pt x="12679" y="39570"/>
                    </a:cubicBezTo>
                    <a:cubicBezTo>
                      <a:pt x="19074" y="22820"/>
                      <a:pt x="25354" y="29006"/>
                      <a:pt x="25354" y="19016"/>
                    </a:cubicBezTo>
                    <a:lnTo>
                      <a:pt x="25354" y="6342"/>
                    </a:lnTo>
                    <a:cubicBezTo>
                      <a:pt x="25354" y="2858"/>
                      <a:pt x="22923" y="18"/>
                      <a:pt x="19434" y="18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4" name="Google Shape;3639;p64">
                <a:extLst>
                  <a:ext uri="{FF2B5EF4-FFF2-40B4-BE49-F238E27FC236}">
                    <a16:creationId xmlns:a16="http://schemas.microsoft.com/office/drawing/2014/main" id="{1A06AAF7-B3F1-4F4A-B6C7-27D9BA6A4C14}"/>
                  </a:ext>
                </a:extLst>
              </p:cNvPr>
              <p:cNvSpPr/>
              <p:nvPr/>
            </p:nvSpPr>
            <p:spPr>
              <a:xfrm>
                <a:off x="7271639" y="3762810"/>
                <a:ext cx="184350" cy="184387"/>
              </a:xfrm>
              <a:custGeom>
                <a:avLst/>
                <a:gdLst/>
                <a:ahLst/>
                <a:cxnLst/>
                <a:rect l="l" t="t" r="r" b="b"/>
                <a:pathLst>
                  <a:path w="20275" h="20279" extrusionOk="0">
                    <a:moveTo>
                      <a:pt x="3738" y="0"/>
                    </a:moveTo>
                    <a:lnTo>
                      <a:pt x="16532" y="0"/>
                    </a:lnTo>
                    <a:cubicBezTo>
                      <a:pt x="18594" y="5"/>
                      <a:pt x="20270" y="1680"/>
                      <a:pt x="20274" y="3742"/>
                    </a:cubicBezTo>
                    <a:lnTo>
                      <a:pt x="20274" y="16536"/>
                    </a:lnTo>
                    <a:cubicBezTo>
                      <a:pt x="20270" y="18598"/>
                      <a:pt x="18594" y="20274"/>
                      <a:pt x="16532" y="20278"/>
                    </a:cubicBezTo>
                    <a:lnTo>
                      <a:pt x="3738" y="20278"/>
                    </a:lnTo>
                    <a:cubicBezTo>
                      <a:pt x="1676" y="20274"/>
                      <a:pt x="5" y="18598"/>
                      <a:pt x="1" y="16536"/>
                    </a:cubicBezTo>
                    <a:lnTo>
                      <a:pt x="1" y="3742"/>
                    </a:lnTo>
                    <a:cubicBezTo>
                      <a:pt x="5" y="1680"/>
                      <a:pt x="1676" y="5"/>
                      <a:pt x="373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C362B5EF-8906-480C-9AA0-DBFA9685B1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75773" y="2261864"/>
              <a:ext cx="351221" cy="342937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AF877AA-EB16-4573-A05B-558D03509796}"/>
              </a:ext>
            </a:extLst>
          </p:cNvPr>
          <p:cNvGrpSpPr/>
          <p:nvPr/>
        </p:nvGrpSpPr>
        <p:grpSpPr>
          <a:xfrm>
            <a:off x="3040734" y="2574281"/>
            <a:ext cx="2482685" cy="1200521"/>
            <a:chOff x="2503475" y="2141889"/>
            <a:chExt cx="1862014" cy="900391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146FA11F-2112-4649-9403-408C85F9DFAD}"/>
                </a:ext>
              </a:extLst>
            </p:cNvPr>
            <p:cNvSpPr txBox="1"/>
            <p:nvPr/>
          </p:nvSpPr>
          <p:spPr>
            <a:xfrm>
              <a:off x="3086743" y="2141889"/>
              <a:ext cx="1278746" cy="9003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en-US" sz="1867" b="1" kern="0" dirty="0">
                  <a:solidFill>
                    <a:srgbClr val="FFFFFF"/>
                  </a:solidFill>
                  <a:latin typeface="Europa-Bold" panose="02000000000000000000" pitchFamily="2" charset="0"/>
                  <a:cs typeface="Arial"/>
                  <a:sym typeface="Barlow Condensed"/>
                </a:rPr>
                <a:t>Review of Theory of Change 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30</a:t>
              </a:r>
              <a:r>
                <a:rPr lang="en-US" sz="1600" kern="0" baseline="3000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th</a:t>
              </a: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 July 2020</a:t>
              </a:r>
              <a:endParaRPr lang="en-US" sz="1867" kern="0" dirty="0">
                <a:solidFill>
                  <a:srgbClr val="FFFFFF"/>
                </a:solidFill>
                <a:latin typeface="Europa-Regular" panose="02000000000000000000" pitchFamily="2" charset="0"/>
                <a:cs typeface="Arial"/>
                <a:sym typeface="Barlow Condensed"/>
              </a:endParaRPr>
            </a:p>
          </p:txBody>
        </p:sp>
        <p:grpSp>
          <p:nvGrpSpPr>
            <p:cNvPr id="114" name="Google Shape;3637;p64">
              <a:extLst>
                <a:ext uri="{FF2B5EF4-FFF2-40B4-BE49-F238E27FC236}">
                  <a16:creationId xmlns:a16="http://schemas.microsoft.com/office/drawing/2014/main" id="{5847C5B4-30F9-49B4-AE4E-F47ED905903D}"/>
                </a:ext>
              </a:extLst>
            </p:cNvPr>
            <p:cNvGrpSpPr/>
            <p:nvPr/>
          </p:nvGrpSpPr>
          <p:grpSpPr>
            <a:xfrm>
              <a:off x="2503475" y="2216243"/>
              <a:ext cx="483675" cy="754872"/>
              <a:chOff x="7248525" y="3739696"/>
              <a:chExt cx="230531" cy="359790"/>
            </a:xfrm>
          </p:grpSpPr>
          <p:sp>
            <p:nvSpPr>
              <p:cNvPr id="115" name="Google Shape;3638;p64">
                <a:extLst>
                  <a:ext uri="{FF2B5EF4-FFF2-40B4-BE49-F238E27FC236}">
                    <a16:creationId xmlns:a16="http://schemas.microsoft.com/office/drawing/2014/main" id="{B0B4C456-D070-47C7-8B8B-4FB9DFE41A08}"/>
                  </a:ext>
                </a:extLst>
              </p:cNvPr>
              <p:cNvSpPr/>
              <p:nvPr/>
            </p:nvSpPr>
            <p:spPr>
              <a:xfrm>
                <a:off x="7248525" y="3739696"/>
                <a:ext cx="230531" cy="359790"/>
              </a:xfrm>
              <a:custGeom>
                <a:avLst/>
                <a:gdLst/>
                <a:ahLst/>
                <a:cxnLst/>
                <a:rect l="l" t="t" r="r" b="b"/>
                <a:pathLst>
                  <a:path w="25354" h="39570" extrusionOk="0">
                    <a:moveTo>
                      <a:pt x="19434" y="18"/>
                    </a:moveTo>
                    <a:lnTo>
                      <a:pt x="6338" y="5"/>
                    </a:lnTo>
                    <a:cubicBezTo>
                      <a:pt x="2854" y="0"/>
                      <a:pt x="1" y="2858"/>
                      <a:pt x="1" y="6342"/>
                    </a:cubicBezTo>
                    <a:lnTo>
                      <a:pt x="1" y="19016"/>
                    </a:lnTo>
                    <a:cubicBezTo>
                      <a:pt x="1" y="29006"/>
                      <a:pt x="6280" y="22820"/>
                      <a:pt x="12679" y="39570"/>
                    </a:cubicBezTo>
                    <a:cubicBezTo>
                      <a:pt x="19074" y="22820"/>
                      <a:pt x="25354" y="29006"/>
                      <a:pt x="25354" y="19016"/>
                    </a:cubicBezTo>
                    <a:lnTo>
                      <a:pt x="25354" y="6342"/>
                    </a:lnTo>
                    <a:cubicBezTo>
                      <a:pt x="25354" y="2858"/>
                      <a:pt x="22923" y="18"/>
                      <a:pt x="19434" y="18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6" name="Google Shape;3639;p64">
                <a:extLst>
                  <a:ext uri="{FF2B5EF4-FFF2-40B4-BE49-F238E27FC236}">
                    <a16:creationId xmlns:a16="http://schemas.microsoft.com/office/drawing/2014/main" id="{9721AFEA-5DB3-4444-86D5-9AFEA370B7C1}"/>
                  </a:ext>
                </a:extLst>
              </p:cNvPr>
              <p:cNvSpPr/>
              <p:nvPr/>
            </p:nvSpPr>
            <p:spPr>
              <a:xfrm>
                <a:off x="7271639" y="3762810"/>
                <a:ext cx="184350" cy="184387"/>
              </a:xfrm>
              <a:custGeom>
                <a:avLst/>
                <a:gdLst/>
                <a:ahLst/>
                <a:cxnLst/>
                <a:rect l="l" t="t" r="r" b="b"/>
                <a:pathLst>
                  <a:path w="20275" h="20279" extrusionOk="0">
                    <a:moveTo>
                      <a:pt x="3738" y="0"/>
                    </a:moveTo>
                    <a:lnTo>
                      <a:pt x="16532" y="0"/>
                    </a:lnTo>
                    <a:cubicBezTo>
                      <a:pt x="18594" y="5"/>
                      <a:pt x="20270" y="1680"/>
                      <a:pt x="20274" y="3742"/>
                    </a:cubicBezTo>
                    <a:lnTo>
                      <a:pt x="20274" y="16536"/>
                    </a:lnTo>
                    <a:cubicBezTo>
                      <a:pt x="20270" y="18598"/>
                      <a:pt x="18594" y="20274"/>
                      <a:pt x="16532" y="20278"/>
                    </a:cubicBezTo>
                    <a:lnTo>
                      <a:pt x="3738" y="20278"/>
                    </a:lnTo>
                    <a:cubicBezTo>
                      <a:pt x="1676" y="20274"/>
                      <a:pt x="5" y="18598"/>
                      <a:pt x="1" y="16536"/>
                    </a:cubicBezTo>
                    <a:lnTo>
                      <a:pt x="1" y="3742"/>
                    </a:lnTo>
                    <a:cubicBezTo>
                      <a:pt x="5" y="1680"/>
                      <a:pt x="1676" y="5"/>
                      <a:pt x="373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0" name="Graphic 109">
            <a:extLst>
              <a:ext uri="{FF2B5EF4-FFF2-40B4-BE49-F238E27FC236}">
                <a16:creationId xmlns:a16="http://schemas.microsoft.com/office/drawing/2014/main" id="{D92B89C0-CEDD-4150-B059-97001B23BDD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37746" y="2740289"/>
            <a:ext cx="463939" cy="4748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1F09B44-16ED-4028-90C2-B7B0CF3C22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8731" y="4276623"/>
            <a:ext cx="1928725" cy="1276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8372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D8B8002-016A-4741-BF30-704E101BAD15}"/>
              </a:ext>
            </a:extLst>
          </p:cNvPr>
          <p:cNvSpPr/>
          <p:nvPr/>
        </p:nvSpPr>
        <p:spPr>
          <a:xfrm>
            <a:off x="6129683" y="4021627"/>
            <a:ext cx="4170515" cy="188679"/>
          </a:xfrm>
          <a:prstGeom prst="rect">
            <a:avLst/>
          </a:prstGeom>
          <a:solidFill>
            <a:srgbClr val="F8F8F8">
              <a:alpha val="7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60" name="Google Shape;460;p35"/>
          <p:cNvSpPr/>
          <p:nvPr/>
        </p:nvSpPr>
        <p:spPr>
          <a:xfrm>
            <a:off x="14158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2" name="Google Shape;462;p35"/>
          <p:cNvSpPr/>
          <p:nvPr/>
        </p:nvSpPr>
        <p:spPr>
          <a:xfrm>
            <a:off x="14158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1" name="Google Shape;431;p35"/>
          <p:cNvSpPr/>
          <p:nvPr/>
        </p:nvSpPr>
        <p:spPr>
          <a:xfrm>
            <a:off x="71888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2" name="Google Shape;432;p35"/>
          <p:cNvSpPr/>
          <p:nvPr/>
        </p:nvSpPr>
        <p:spPr>
          <a:xfrm>
            <a:off x="7900392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3" name="Google Shape;433;p35"/>
          <p:cNvSpPr/>
          <p:nvPr/>
        </p:nvSpPr>
        <p:spPr>
          <a:xfrm>
            <a:off x="861388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4" name="Google Shape;434;p35"/>
          <p:cNvSpPr/>
          <p:nvPr/>
        </p:nvSpPr>
        <p:spPr>
          <a:xfrm>
            <a:off x="9350981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5" name="Google Shape;435;p35"/>
          <p:cNvSpPr/>
          <p:nvPr/>
        </p:nvSpPr>
        <p:spPr>
          <a:xfrm>
            <a:off x="10062529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6" name="Google Shape;436;p35"/>
          <p:cNvSpPr/>
          <p:nvPr/>
        </p:nvSpPr>
        <p:spPr>
          <a:xfrm>
            <a:off x="107760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7" name="Google Shape;437;p35"/>
          <p:cNvSpPr/>
          <p:nvPr/>
        </p:nvSpPr>
        <p:spPr>
          <a:xfrm>
            <a:off x="11487576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8" name="Google Shape;438;p35"/>
          <p:cNvSpPr/>
          <p:nvPr/>
        </p:nvSpPr>
        <p:spPr>
          <a:xfrm>
            <a:off x="71888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9" name="Google Shape;439;p35"/>
          <p:cNvSpPr/>
          <p:nvPr/>
        </p:nvSpPr>
        <p:spPr>
          <a:xfrm>
            <a:off x="7900392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0" name="Google Shape;440;p35"/>
          <p:cNvSpPr/>
          <p:nvPr/>
        </p:nvSpPr>
        <p:spPr>
          <a:xfrm>
            <a:off x="861388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1" name="Google Shape;441;p35"/>
          <p:cNvSpPr/>
          <p:nvPr/>
        </p:nvSpPr>
        <p:spPr>
          <a:xfrm>
            <a:off x="9350981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2" name="Google Shape;442;p35"/>
          <p:cNvSpPr/>
          <p:nvPr/>
        </p:nvSpPr>
        <p:spPr>
          <a:xfrm>
            <a:off x="10062529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3" name="Google Shape;443;p35"/>
          <p:cNvSpPr/>
          <p:nvPr/>
        </p:nvSpPr>
        <p:spPr>
          <a:xfrm>
            <a:off x="107760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4" name="Google Shape;444;p35"/>
          <p:cNvSpPr/>
          <p:nvPr/>
        </p:nvSpPr>
        <p:spPr>
          <a:xfrm>
            <a:off x="11487576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5" name="Google Shape;445;p35"/>
          <p:cNvSpPr/>
          <p:nvPr/>
        </p:nvSpPr>
        <p:spPr>
          <a:xfrm>
            <a:off x="2153017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6" name="Google Shape;446;p35"/>
          <p:cNvSpPr/>
          <p:nvPr/>
        </p:nvSpPr>
        <p:spPr>
          <a:xfrm>
            <a:off x="2864525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7" name="Google Shape;447;p35"/>
          <p:cNvSpPr/>
          <p:nvPr/>
        </p:nvSpPr>
        <p:spPr>
          <a:xfrm>
            <a:off x="3578020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7" y="1"/>
                </a:moveTo>
                <a:lnTo>
                  <a:pt x="1" y="14236"/>
                </a:lnTo>
                <a:lnTo>
                  <a:pt x="5686" y="14236"/>
                </a:lnTo>
                <a:lnTo>
                  <a:pt x="8506" y="9688"/>
                </a:lnTo>
                <a:lnTo>
                  <a:pt x="11917" y="14236"/>
                </a:lnTo>
                <a:lnTo>
                  <a:pt x="17056" y="14236"/>
                </a:lnTo>
                <a:lnTo>
                  <a:pt x="9097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8" name="Google Shape;448;p35"/>
          <p:cNvSpPr/>
          <p:nvPr/>
        </p:nvSpPr>
        <p:spPr>
          <a:xfrm>
            <a:off x="4315114" y="6245084"/>
            <a:ext cx="711617" cy="606785"/>
          </a:xfrm>
          <a:custGeom>
            <a:avLst/>
            <a:gdLst/>
            <a:ahLst/>
            <a:cxnLst/>
            <a:rect l="l" t="t" r="r" b="b"/>
            <a:pathLst>
              <a:path w="16465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6465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9" name="Google Shape;449;p35"/>
          <p:cNvSpPr/>
          <p:nvPr/>
        </p:nvSpPr>
        <p:spPr>
          <a:xfrm>
            <a:off x="5026663" y="6245084"/>
            <a:ext cx="713563" cy="606785"/>
          </a:xfrm>
          <a:custGeom>
            <a:avLst/>
            <a:gdLst/>
            <a:ahLst/>
            <a:cxnLst/>
            <a:rect l="l" t="t" r="r" b="b"/>
            <a:pathLst>
              <a:path w="16510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6510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0" name="Google Shape;450;p35"/>
          <p:cNvSpPr/>
          <p:nvPr/>
        </p:nvSpPr>
        <p:spPr>
          <a:xfrm>
            <a:off x="574015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06" y="1"/>
                </a:moveTo>
                <a:lnTo>
                  <a:pt x="1" y="14236"/>
                </a:lnTo>
                <a:lnTo>
                  <a:pt x="5095" y="14236"/>
                </a:lnTo>
                <a:lnTo>
                  <a:pt x="8506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0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1" name="Google Shape;451;p35"/>
          <p:cNvSpPr/>
          <p:nvPr/>
        </p:nvSpPr>
        <p:spPr>
          <a:xfrm>
            <a:off x="645170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8551" y="1"/>
                </a:moveTo>
                <a:lnTo>
                  <a:pt x="1" y="14236"/>
                </a:lnTo>
                <a:lnTo>
                  <a:pt x="5140" y="14236"/>
                </a:lnTo>
                <a:lnTo>
                  <a:pt x="8551" y="9688"/>
                </a:lnTo>
                <a:lnTo>
                  <a:pt x="11371" y="14236"/>
                </a:lnTo>
                <a:lnTo>
                  <a:pt x="17056" y="14236"/>
                </a:lnTo>
                <a:lnTo>
                  <a:pt x="8551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2" name="Google Shape;452;p35"/>
          <p:cNvSpPr/>
          <p:nvPr/>
        </p:nvSpPr>
        <p:spPr>
          <a:xfrm>
            <a:off x="2153017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3" name="Google Shape;453;p35"/>
          <p:cNvSpPr/>
          <p:nvPr/>
        </p:nvSpPr>
        <p:spPr>
          <a:xfrm>
            <a:off x="2864525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4" name="Google Shape;454;p35"/>
          <p:cNvSpPr/>
          <p:nvPr/>
        </p:nvSpPr>
        <p:spPr>
          <a:xfrm>
            <a:off x="3578020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9097" y="14236"/>
                </a:lnTo>
                <a:lnTo>
                  <a:pt x="17056" y="1"/>
                </a:lnTo>
                <a:lnTo>
                  <a:pt x="11917" y="1"/>
                </a:lnTo>
                <a:lnTo>
                  <a:pt x="8506" y="4549"/>
                </a:lnTo>
                <a:lnTo>
                  <a:pt x="568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5" name="Google Shape;455;p35"/>
          <p:cNvSpPr/>
          <p:nvPr/>
        </p:nvSpPr>
        <p:spPr>
          <a:xfrm>
            <a:off x="4315114" y="5615107"/>
            <a:ext cx="711617" cy="606828"/>
          </a:xfrm>
          <a:custGeom>
            <a:avLst/>
            <a:gdLst/>
            <a:ahLst/>
            <a:cxnLst/>
            <a:rect l="l" t="t" r="r" b="b"/>
            <a:pathLst>
              <a:path w="16465" h="14237" extrusionOk="0">
                <a:moveTo>
                  <a:pt x="1" y="1"/>
                </a:moveTo>
                <a:lnTo>
                  <a:pt x="8506" y="14236"/>
                </a:lnTo>
                <a:lnTo>
                  <a:pt x="16465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6" name="Google Shape;456;p35"/>
          <p:cNvSpPr/>
          <p:nvPr/>
        </p:nvSpPr>
        <p:spPr>
          <a:xfrm>
            <a:off x="5026663" y="5615107"/>
            <a:ext cx="713563" cy="606828"/>
          </a:xfrm>
          <a:custGeom>
            <a:avLst/>
            <a:gdLst/>
            <a:ahLst/>
            <a:cxnLst/>
            <a:rect l="l" t="t" r="r" b="b"/>
            <a:pathLst>
              <a:path w="16510" h="14237" extrusionOk="0">
                <a:moveTo>
                  <a:pt x="1" y="1"/>
                </a:moveTo>
                <a:lnTo>
                  <a:pt x="8551" y="14236"/>
                </a:lnTo>
                <a:lnTo>
                  <a:pt x="16510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7" name="Google Shape;457;p35"/>
          <p:cNvSpPr/>
          <p:nvPr/>
        </p:nvSpPr>
        <p:spPr>
          <a:xfrm>
            <a:off x="574015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06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06" y="4549"/>
                </a:lnTo>
                <a:lnTo>
                  <a:pt x="509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8" name="Google Shape;458;p35"/>
          <p:cNvSpPr/>
          <p:nvPr/>
        </p:nvSpPr>
        <p:spPr>
          <a:xfrm>
            <a:off x="645170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1" y="1"/>
                </a:moveTo>
                <a:lnTo>
                  <a:pt x="8551" y="14236"/>
                </a:lnTo>
                <a:lnTo>
                  <a:pt x="17056" y="1"/>
                </a:lnTo>
                <a:lnTo>
                  <a:pt x="11371" y="1"/>
                </a:lnTo>
                <a:lnTo>
                  <a:pt x="8551" y="4549"/>
                </a:lnTo>
                <a:lnTo>
                  <a:pt x="5140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9" name="Google Shape;459;p35"/>
          <p:cNvSpPr/>
          <p:nvPr/>
        </p:nvSpPr>
        <p:spPr>
          <a:xfrm>
            <a:off x="704384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1" name="Google Shape;461;p35"/>
          <p:cNvSpPr/>
          <p:nvPr/>
        </p:nvSpPr>
        <p:spPr>
          <a:xfrm>
            <a:off x="704384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3" name="Google Shape;463;p35"/>
          <p:cNvSpPr/>
          <p:nvPr/>
        </p:nvSpPr>
        <p:spPr>
          <a:xfrm>
            <a:off x="-32749" y="6245084"/>
            <a:ext cx="737160" cy="606785"/>
          </a:xfrm>
          <a:custGeom>
            <a:avLst/>
            <a:gdLst/>
            <a:ahLst/>
            <a:cxnLst/>
            <a:rect l="l" t="t" r="r" b="b"/>
            <a:pathLst>
              <a:path w="17056" h="14236" extrusionOk="0">
                <a:moveTo>
                  <a:pt x="9096" y="1"/>
                </a:moveTo>
                <a:lnTo>
                  <a:pt x="0" y="14236"/>
                </a:lnTo>
                <a:lnTo>
                  <a:pt x="5685" y="14236"/>
                </a:lnTo>
                <a:lnTo>
                  <a:pt x="8505" y="9688"/>
                </a:lnTo>
                <a:lnTo>
                  <a:pt x="11370" y="14236"/>
                </a:lnTo>
                <a:lnTo>
                  <a:pt x="17055" y="14236"/>
                </a:lnTo>
                <a:lnTo>
                  <a:pt x="9096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4" name="Google Shape;464;p35"/>
          <p:cNvSpPr/>
          <p:nvPr/>
        </p:nvSpPr>
        <p:spPr>
          <a:xfrm>
            <a:off x="-32749" y="5615107"/>
            <a:ext cx="737160" cy="606828"/>
          </a:xfrm>
          <a:custGeom>
            <a:avLst/>
            <a:gdLst/>
            <a:ahLst/>
            <a:cxnLst/>
            <a:rect l="l" t="t" r="r" b="b"/>
            <a:pathLst>
              <a:path w="17056" h="14237" extrusionOk="0">
                <a:moveTo>
                  <a:pt x="0" y="1"/>
                </a:moveTo>
                <a:lnTo>
                  <a:pt x="9096" y="14236"/>
                </a:lnTo>
                <a:lnTo>
                  <a:pt x="17055" y="1"/>
                </a:lnTo>
                <a:lnTo>
                  <a:pt x="11370" y="1"/>
                </a:lnTo>
                <a:lnTo>
                  <a:pt x="8505" y="4549"/>
                </a:lnTo>
                <a:lnTo>
                  <a:pt x="5685" y="1"/>
                </a:lnTo>
                <a:close/>
              </a:path>
            </a:pathLst>
          </a:custGeom>
          <a:solidFill>
            <a:srgbClr val="3B9CD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09DC90-96EE-42D8-AFE8-AE0037F55A8F}"/>
              </a:ext>
            </a:extLst>
          </p:cNvPr>
          <p:cNvGrpSpPr/>
          <p:nvPr/>
        </p:nvGrpSpPr>
        <p:grpSpPr>
          <a:xfrm rot="5400000">
            <a:off x="1698060" y="1639470"/>
            <a:ext cx="1414611" cy="389217"/>
            <a:chOff x="797454" y="1257310"/>
            <a:chExt cx="1060958" cy="291913"/>
          </a:xfrm>
        </p:grpSpPr>
        <p:sp>
          <p:nvSpPr>
            <p:cNvPr id="465" name="Google Shape;465;p35"/>
            <p:cNvSpPr/>
            <p:nvPr/>
          </p:nvSpPr>
          <p:spPr>
            <a:xfrm rot="-5400000" flipH="1">
              <a:off x="1045758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6" name="Google Shape;466;p35"/>
            <p:cNvSpPr/>
            <p:nvPr/>
          </p:nvSpPr>
          <p:spPr>
            <a:xfrm rot="-5400000" flipH="1">
              <a:off x="773322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7" name="Google Shape;467;p35"/>
            <p:cNvSpPr/>
            <p:nvPr/>
          </p:nvSpPr>
          <p:spPr>
            <a:xfrm rot="-5400000" flipH="1">
              <a:off x="1318193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8" name="Google Shape;468;p35"/>
            <p:cNvSpPr/>
            <p:nvPr/>
          </p:nvSpPr>
          <p:spPr>
            <a:xfrm rot="-5400000" flipH="1">
              <a:off x="1590631" y="1281442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E2299BC-2C22-4282-8C38-948A7152A843}"/>
              </a:ext>
            </a:extLst>
          </p:cNvPr>
          <p:cNvGrpSpPr/>
          <p:nvPr/>
        </p:nvGrpSpPr>
        <p:grpSpPr>
          <a:xfrm>
            <a:off x="10487829" y="3987620"/>
            <a:ext cx="798467" cy="219691"/>
            <a:chOff x="6638255" y="1866051"/>
            <a:chExt cx="1060958" cy="291913"/>
          </a:xfrm>
        </p:grpSpPr>
        <p:sp>
          <p:nvSpPr>
            <p:cNvPr id="473" name="Google Shape;473;p35"/>
            <p:cNvSpPr/>
            <p:nvPr/>
          </p:nvSpPr>
          <p:spPr>
            <a:xfrm rot="-5400000" flipH="1">
              <a:off x="6886559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4" name="Google Shape;474;p35"/>
            <p:cNvSpPr/>
            <p:nvPr/>
          </p:nvSpPr>
          <p:spPr>
            <a:xfrm rot="-5400000" flipH="1">
              <a:off x="6614123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5" name="Google Shape;475;p35"/>
            <p:cNvSpPr/>
            <p:nvPr/>
          </p:nvSpPr>
          <p:spPr>
            <a:xfrm rot="-5400000" flipH="1">
              <a:off x="7158994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76" name="Google Shape;476;p35"/>
            <p:cNvSpPr/>
            <p:nvPr/>
          </p:nvSpPr>
          <p:spPr>
            <a:xfrm rot="-5400000" flipH="1">
              <a:off x="7431432" y="1890183"/>
              <a:ext cx="291913" cy="243649"/>
            </a:xfrm>
            <a:custGeom>
              <a:avLst/>
              <a:gdLst/>
              <a:ahLst/>
              <a:cxnLst/>
              <a:rect l="l" t="t" r="r" b="b"/>
              <a:pathLst>
                <a:path w="17056" h="14236" extrusionOk="0">
                  <a:moveTo>
                    <a:pt x="0" y="0"/>
                  </a:moveTo>
                  <a:lnTo>
                    <a:pt x="9096" y="14235"/>
                  </a:lnTo>
                  <a:lnTo>
                    <a:pt x="17055" y="0"/>
                  </a:lnTo>
                  <a:lnTo>
                    <a:pt x="11370" y="0"/>
                  </a:lnTo>
                  <a:lnTo>
                    <a:pt x="8505" y="4548"/>
                  </a:lnTo>
                  <a:lnTo>
                    <a:pt x="5685" y="0"/>
                  </a:lnTo>
                  <a:close/>
                </a:path>
              </a:pathLst>
            </a:custGeom>
            <a:solidFill>
              <a:srgbClr val="3B9CD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endParaRPr sz="1867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3C232EF8-C97F-4DF6-A534-774D10CBA991}"/>
              </a:ext>
            </a:extLst>
          </p:cNvPr>
          <p:cNvSpPr/>
          <p:nvPr/>
        </p:nvSpPr>
        <p:spPr>
          <a:xfrm>
            <a:off x="1967635" y="4021393"/>
            <a:ext cx="4170515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64EF49-6977-426C-BD12-A20F3FFCF0BE}"/>
              </a:ext>
            </a:extLst>
          </p:cNvPr>
          <p:cNvSpPr/>
          <p:nvPr/>
        </p:nvSpPr>
        <p:spPr>
          <a:xfrm rot="5400000">
            <a:off x="-1653953" y="565310"/>
            <a:ext cx="7099701" cy="18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EDB6561-7B15-4A5B-9C54-F8581F41581E}"/>
              </a:ext>
            </a:extLst>
          </p:cNvPr>
          <p:cNvGrpSpPr/>
          <p:nvPr/>
        </p:nvGrpSpPr>
        <p:grpSpPr>
          <a:xfrm rot="10800000">
            <a:off x="2116834" y="4032330"/>
            <a:ext cx="6338124" cy="155445"/>
            <a:chOff x="1422525" y="3024247"/>
            <a:chExt cx="4753593" cy="11658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F61C0D1F-B4B3-4072-A112-9B41406267E7}"/>
                </a:ext>
              </a:extLst>
            </p:cNvPr>
            <p:cNvGrpSpPr/>
            <p:nvPr/>
          </p:nvGrpSpPr>
          <p:grpSpPr>
            <a:xfrm rot="10800000">
              <a:off x="2315990" y="3024247"/>
              <a:ext cx="821329" cy="108488"/>
              <a:chOff x="2197874" y="3024247"/>
              <a:chExt cx="821329" cy="108488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F7C9134-D2A7-49AA-A9B9-98324DB27C5A}"/>
                  </a:ext>
                </a:extLst>
              </p:cNvPr>
              <p:cNvGrpSpPr/>
              <p:nvPr/>
            </p:nvGrpSpPr>
            <p:grpSpPr>
              <a:xfrm>
                <a:off x="2197874" y="3031335"/>
                <a:ext cx="368535" cy="101400"/>
                <a:chOff x="3743854" y="1866049"/>
                <a:chExt cx="1060959" cy="291915"/>
              </a:xfrm>
            </p:grpSpPr>
            <p:sp>
              <p:nvSpPr>
                <p:cNvPr id="469" name="Google Shape;469;p35"/>
                <p:cNvSpPr/>
                <p:nvPr/>
              </p:nvSpPr>
              <p:spPr>
                <a:xfrm rot="16200000" flipH="1">
                  <a:off x="3992159" y="1890182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70" name="Google Shape;470;p35"/>
                <p:cNvSpPr/>
                <p:nvPr/>
              </p:nvSpPr>
              <p:spPr>
                <a:xfrm rot="16200000" flipH="1">
                  <a:off x="3719722" y="1890181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71" name="Google Shape;471;p35"/>
                <p:cNvSpPr/>
                <p:nvPr/>
              </p:nvSpPr>
              <p:spPr>
                <a:xfrm rot="-5400000" flipH="1">
                  <a:off x="4264594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472" name="Google Shape;472;p35"/>
                <p:cNvSpPr/>
                <p:nvPr/>
              </p:nvSpPr>
              <p:spPr>
                <a:xfrm rot="-5400000" flipH="1">
                  <a:off x="4537032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302C911-5F69-4607-8A2E-039BB670B14E}"/>
                  </a:ext>
                </a:extLst>
              </p:cNvPr>
              <p:cNvGrpSpPr/>
              <p:nvPr/>
            </p:nvGrpSpPr>
            <p:grpSpPr>
              <a:xfrm>
                <a:off x="2650668" y="3024247"/>
                <a:ext cx="368535" cy="101400"/>
                <a:chOff x="3743854" y="1866049"/>
                <a:chExt cx="1060959" cy="291915"/>
              </a:xfrm>
            </p:grpSpPr>
            <p:sp>
              <p:nvSpPr>
                <p:cNvPr id="69" name="Google Shape;469;p35">
                  <a:extLst>
                    <a:ext uri="{FF2B5EF4-FFF2-40B4-BE49-F238E27FC236}">
                      <a16:creationId xmlns:a16="http://schemas.microsoft.com/office/drawing/2014/main" id="{E4F36875-B55A-4805-964E-DDC266298746}"/>
                    </a:ext>
                  </a:extLst>
                </p:cNvPr>
                <p:cNvSpPr/>
                <p:nvPr/>
              </p:nvSpPr>
              <p:spPr>
                <a:xfrm rot="16200000" flipH="1">
                  <a:off x="3992159" y="1890182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70" name="Google Shape;470;p35">
                  <a:extLst>
                    <a:ext uri="{FF2B5EF4-FFF2-40B4-BE49-F238E27FC236}">
                      <a16:creationId xmlns:a16="http://schemas.microsoft.com/office/drawing/2014/main" id="{A7339704-D630-46C0-A29B-247B7961241E}"/>
                    </a:ext>
                  </a:extLst>
                </p:cNvPr>
                <p:cNvSpPr/>
                <p:nvPr/>
              </p:nvSpPr>
              <p:spPr>
                <a:xfrm rot="16200000" flipH="1">
                  <a:off x="3719722" y="1890181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71" name="Google Shape;471;p35">
                  <a:extLst>
                    <a:ext uri="{FF2B5EF4-FFF2-40B4-BE49-F238E27FC236}">
                      <a16:creationId xmlns:a16="http://schemas.microsoft.com/office/drawing/2014/main" id="{47567F50-BA87-4755-90EE-20D7FB036124}"/>
                    </a:ext>
                  </a:extLst>
                </p:cNvPr>
                <p:cNvSpPr/>
                <p:nvPr/>
              </p:nvSpPr>
              <p:spPr>
                <a:xfrm rot="-5400000" flipH="1">
                  <a:off x="4264594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72" name="Google Shape;472;p35">
                  <a:extLst>
                    <a:ext uri="{FF2B5EF4-FFF2-40B4-BE49-F238E27FC236}">
                      <a16:creationId xmlns:a16="http://schemas.microsoft.com/office/drawing/2014/main" id="{3DB3DF5D-B02A-4EC5-9CDE-3EE2BA300927}"/>
                    </a:ext>
                  </a:extLst>
                </p:cNvPr>
                <p:cNvSpPr/>
                <p:nvPr/>
              </p:nvSpPr>
              <p:spPr>
                <a:xfrm rot="-5400000" flipH="1">
                  <a:off x="4537032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F5950705-9993-44CB-A3CC-ED201D67A807}"/>
                </a:ext>
              </a:extLst>
            </p:cNvPr>
            <p:cNvGrpSpPr/>
            <p:nvPr/>
          </p:nvGrpSpPr>
          <p:grpSpPr>
            <a:xfrm rot="10800000">
              <a:off x="5354789" y="3029134"/>
              <a:ext cx="368535" cy="101400"/>
              <a:chOff x="3743854" y="1866049"/>
              <a:chExt cx="1060959" cy="291915"/>
            </a:xfrm>
          </p:grpSpPr>
          <p:sp>
            <p:nvSpPr>
              <p:cNvPr id="83" name="Google Shape;469;p35">
                <a:extLst>
                  <a:ext uri="{FF2B5EF4-FFF2-40B4-BE49-F238E27FC236}">
                    <a16:creationId xmlns:a16="http://schemas.microsoft.com/office/drawing/2014/main" id="{91BF5180-B2AB-4107-BB18-93FDECA8E639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4" name="Google Shape;470;p35">
                <a:extLst>
                  <a:ext uri="{FF2B5EF4-FFF2-40B4-BE49-F238E27FC236}">
                    <a16:creationId xmlns:a16="http://schemas.microsoft.com/office/drawing/2014/main" id="{8EB7EA8B-ECD3-47E2-A480-6C4414780106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" name="Google Shape;471;p35">
                <a:extLst>
                  <a:ext uri="{FF2B5EF4-FFF2-40B4-BE49-F238E27FC236}">
                    <a16:creationId xmlns:a16="http://schemas.microsoft.com/office/drawing/2014/main" id="{F53CB862-3B58-4D7B-9782-E47ED05DAA2C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6" name="Google Shape;472;p35">
                <a:extLst>
                  <a:ext uri="{FF2B5EF4-FFF2-40B4-BE49-F238E27FC236}">
                    <a16:creationId xmlns:a16="http://schemas.microsoft.com/office/drawing/2014/main" id="{3497195F-3A6F-4ABD-8E93-674DEE20715C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1D5AB28-CF29-4338-A4F1-297BF940AF9D}"/>
                </a:ext>
              </a:extLst>
            </p:cNvPr>
            <p:cNvGrpSpPr/>
            <p:nvPr/>
          </p:nvGrpSpPr>
          <p:grpSpPr>
            <a:xfrm rot="10800000">
              <a:off x="5807583" y="3029134"/>
              <a:ext cx="368535" cy="101400"/>
              <a:chOff x="3743854" y="1866049"/>
              <a:chExt cx="1060959" cy="291915"/>
            </a:xfrm>
          </p:grpSpPr>
          <p:sp>
            <p:nvSpPr>
              <p:cNvPr id="88" name="Google Shape;469;p35">
                <a:extLst>
                  <a:ext uri="{FF2B5EF4-FFF2-40B4-BE49-F238E27FC236}">
                    <a16:creationId xmlns:a16="http://schemas.microsoft.com/office/drawing/2014/main" id="{F1D2A195-115F-489E-86C5-C6DE164B3B94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9" name="Google Shape;470;p35">
                <a:extLst>
                  <a:ext uri="{FF2B5EF4-FFF2-40B4-BE49-F238E27FC236}">
                    <a16:creationId xmlns:a16="http://schemas.microsoft.com/office/drawing/2014/main" id="{B2A677C6-DF59-4DB0-B754-B889FE3E252F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" name="Google Shape;471;p35">
                <a:extLst>
                  <a:ext uri="{FF2B5EF4-FFF2-40B4-BE49-F238E27FC236}">
                    <a16:creationId xmlns:a16="http://schemas.microsoft.com/office/drawing/2014/main" id="{4FF64BEB-907A-44D0-AF0F-D7771CDA3233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1" name="Google Shape;472;p35">
                <a:extLst>
                  <a:ext uri="{FF2B5EF4-FFF2-40B4-BE49-F238E27FC236}">
                    <a16:creationId xmlns:a16="http://schemas.microsoft.com/office/drawing/2014/main" id="{25571206-0AC7-4117-B054-684C20C85483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5EA2FAE8-3894-41DB-BA51-BC6D6AD26442}"/>
                </a:ext>
              </a:extLst>
            </p:cNvPr>
            <p:cNvGrpSpPr/>
            <p:nvPr/>
          </p:nvGrpSpPr>
          <p:grpSpPr>
            <a:xfrm rot="10800000">
              <a:off x="4944387" y="3026572"/>
              <a:ext cx="368535" cy="101400"/>
              <a:chOff x="3743854" y="1866049"/>
              <a:chExt cx="1060959" cy="291915"/>
            </a:xfrm>
          </p:grpSpPr>
          <p:sp>
            <p:nvSpPr>
              <p:cNvPr id="95" name="Google Shape;469;p35">
                <a:extLst>
                  <a:ext uri="{FF2B5EF4-FFF2-40B4-BE49-F238E27FC236}">
                    <a16:creationId xmlns:a16="http://schemas.microsoft.com/office/drawing/2014/main" id="{64CE39BA-2428-481F-99C4-782EE4F8EACF}"/>
                  </a:ext>
                </a:extLst>
              </p:cNvPr>
              <p:cNvSpPr/>
              <p:nvPr/>
            </p:nvSpPr>
            <p:spPr>
              <a:xfrm rot="16200000" flipH="1">
                <a:off x="3992159" y="1890182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6" name="Google Shape;470;p35">
                <a:extLst>
                  <a:ext uri="{FF2B5EF4-FFF2-40B4-BE49-F238E27FC236}">
                    <a16:creationId xmlns:a16="http://schemas.microsoft.com/office/drawing/2014/main" id="{43867037-A50A-4D72-AFB3-91EA928E6B6F}"/>
                  </a:ext>
                </a:extLst>
              </p:cNvPr>
              <p:cNvSpPr/>
              <p:nvPr/>
            </p:nvSpPr>
            <p:spPr>
              <a:xfrm rot="16200000" flipH="1">
                <a:off x="3719722" y="1890181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7" name="Google Shape;471;p35">
                <a:extLst>
                  <a:ext uri="{FF2B5EF4-FFF2-40B4-BE49-F238E27FC236}">
                    <a16:creationId xmlns:a16="http://schemas.microsoft.com/office/drawing/2014/main" id="{54419166-24D0-4F05-B830-AF7B45D72DDE}"/>
                  </a:ext>
                </a:extLst>
              </p:cNvPr>
              <p:cNvSpPr/>
              <p:nvPr/>
            </p:nvSpPr>
            <p:spPr>
              <a:xfrm rot="-5400000" flipH="1">
                <a:off x="4264594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472;p35">
                <a:extLst>
                  <a:ext uri="{FF2B5EF4-FFF2-40B4-BE49-F238E27FC236}">
                    <a16:creationId xmlns:a16="http://schemas.microsoft.com/office/drawing/2014/main" id="{018439C0-BB23-498E-8D7C-6C635A2420D4}"/>
                  </a:ext>
                </a:extLst>
              </p:cNvPr>
              <p:cNvSpPr/>
              <p:nvPr/>
            </p:nvSpPr>
            <p:spPr>
              <a:xfrm rot="-5400000" flipH="1">
                <a:off x="4537032" y="1890183"/>
                <a:ext cx="291913" cy="243649"/>
              </a:xfrm>
              <a:custGeom>
                <a:avLst/>
                <a:gdLst/>
                <a:ahLst/>
                <a:cxnLst/>
                <a:rect l="l" t="t" r="r" b="b"/>
                <a:pathLst>
                  <a:path w="17056" h="14236" extrusionOk="0">
                    <a:moveTo>
                      <a:pt x="0" y="0"/>
                    </a:moveTo>
                    <a:lnTo>
                      <a:pt x="9096" y="14235"/>
                    </a:lnTo>
                    <a:lnTo>
                      <a:pt x="17055" y="0"/>
                    </a:lnTo>
                    <a:lnTo>
                      <a:pt x="11370" y="0"/>
                    </a:lnTo>
                    <a:lnTo>
                      <a:pt x="8505" y="4548"/>
                    </a:lnTo>
                    <a:lnTo>
                      <a:pt x="5685" y="0"/>
                    </a:lnTo>
                    <a:close/>
                  </a:path>
                </a:pathLst>
              </a:custGeom>
              <a:solidFill>
                <a:srgbClr val="3B9CD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C87DC168-56F7-4FAF-8730-377FEE786C4D}"/>
                </a:ext>
              </a:extLst>
            </p:cNvPr>
            <p:cNvGrpSpPr/>
            <p:nvPr/>
          </p:nvGrpSpPr>
          <p:grpSpPr>
            <a:xfrm rot="10800000">
              <a:off x="1422525" y="3032343"/>
              <a:ext cx="821329" cy="108488"/>
              <a:chOff x="2197874" y="3024247"/>
              <a:chExt cx="821329" cy="108488"/>
            </a:xfrm>
          </p:grpSpPr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6E848808-0888-4629-BA21-105320228E74}"/>
                  </a:ext>
                </a:extLst>
              </p:cNvPr>
              <p:cNvGrpSpPr/>
              <p:nvPr/>
            </p:nvGrpSpPr>
            <p:grpSpPr>
              <a:xfrm>
                <a:off x="2197874" y="3031335"/>
                <a:ext cx="368535" cy="101400"/>
                <a:chOff x="3743854" y="1866049"/>
                <a:chExt cx="1060959" cy="291915"/>
              </a:xfrm>
            </p:grpSpPr>
            <p:sp>
              <p:nvSpPr>
                <p:cNvPr id="106" name="Google Shape;469;p35">
                  <a:extLst>
                    <a:ext uri="{FF2B5EF4-FFF2-40B4-BE49-F238E27FC236}">
                      <a16:creationId xmlns:a16="http://schemas.microsoft.com/office/drawing/2014/main" id="{4BCBE6AD-5B1B-47A7-B90C-96DD935FF48E}"/>
                    </a:ext>
                  </a:extLst>
                </p:cNvPr>
                <p:cNvSpPr/>
                <p:nvPr/>
              </p:nvSpPr>
              <p:spPr>
                <a:xfrm rot="16200000" flipH="1">
                  <a:off x="3992159" y="1890182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7" name="Google Shape;470;p35">
                  <a:extLst>
                    <a:ext uri="{FF2B5EF4-FFF2-40B4-BE49-F238E27FC236}">
                      <a16:creationId xmlns:a16="http://schemas.microsoft.com/office/drawing/2014/main" id="{33A97E77-E28C-44EC-AA46-60D63C83FD01}"/>
                    </a:ext>
                  </a:extLst>
                </p:cNvPr>
                <p:cNvSpPr/>
                <p:nvPr/>
              </p:nvSpPr>
              <p:spPr>
                <a:xfrm rot="16200000" flipH="1">
                  <a:off x="3719722" y="1890181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8" name="Google Shape;471;p35">
                  <a:extLst>
                    <a:ext uri="{FF2B5EF4-FFF2-40B4-BE49-F238E27FC236}">
                      <a16:creationId xmlns:a16="http://schemas.microsoft.com/office/drawing/2014/main" id="{ECF9A30E-1EE3-4E1F-9FB9-E1CE02B2C9BC}"/>
                    </a:ext>
                  </a:extLst>
                </p:cNvPr>
                <p:cNvSpPr/>
                <p:nvPr/>
              </p:nvSpPr>
              <p:spPr>
                <a:xfrm rot="-5400000" flipH="1">
                  <a:off x="4264594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9" name="Google Shape;472;p35">
                  <a:extLst>
                    <a:ext uri="{FF2B5EF4-FFF2-40B4-BE49-F238E27FC236}">
                      <a16:creationId xmlns:a16="http://schemas.microsoft.com/office/drawing/2014/main" id="{B27F537C-9A62-42D7-9E7E-41620795454A}"/>
                    </a:ext>
                  </a:extLst>
                </p:cNvPr>
                <p:cNvSpPr/>
                <p:nvPr/>
              </p:nvSpPr>
              <p:spPr>
                <a:xfrm rot="-5400000" flipH="1">
                  <a:off x="4537032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39C3762F-0574-4FB4-9A4A-5E857C30DBE4}"/>
                  </a:ext>
                </a:extLst>
              </p:cNvPr>
              <p:cNvGrpSpPr/>
              <p:nvPr/>
            </p:nvGrpSpPr>
            <p:grpSpPr>
              <a:xfrm>
                <a:off x="2650668" y="3024247"/>
                <a:ext cx="368535" cy="101400"/>
                <a:chOff x="3743854" y="1866049"/>
                <a:chExt cx="1060959" cy="291915"/>
              </a:xfrm>
            </p:grpSpPr>
            <p:sp>
              <p:nvSpPr>
                <p:cNvPr id="102" name="Google Shape;469;p35">
                  <a:extLst>
                    <a:ext uri="{FF2B5EF4-FFF2-40B4-BE49-F238E27FC236}">
                      <a16:creationId xmlns:a16="http://schemas.microsoft.com/office/drawing/2014/main" id="{F2C9CE7A-2DBB-448A-BE0E-A67240891378}"/>
                    </a:ext>
                  </a:extLst>
                </p:cNvPr>
                <p:cNvSpPr/>
                <p:nvPr/>
              </p:nvSpPr>
              <p:spPr>
                <a:xfrm rot="16200000" flipH="1">
                  <a:off x="3992159" y="1890182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3" name="Google Shape;470;p35">
                  <a:extLst>
                    <a:ext uri="{FF2B5EF4-FFF2-40B4-BE49-F238E27FC236}">
                      <a16:creationId xmlns:a16="http://schemas.microsoft.com/office/drawing/2014/main" id="{CCEDD3BC-F819-4917-8F40-CE3B2ACACAB8}"/>
                    </a:ext>
                  </a:extLst>
                </p:cNvPr>
                <p:cNvSpPr/>
                <p:nvPr/>
              </p:nvSpPr>
              <p:spPr>
                <a:xfrm rot="16200000" flipH="1">
                  <a:off x="3719722" y="1890181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CFD9E0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4" name="Google Shape;471;p35">
                  <a:extLst>
                    <a:ext uri="{FF2B5EF4-FFF2-40B4-BE49-F238E27FC236}">
                      <a16:creationId xmlns:a16="http://schemas.microsoft.com/office/drawing/2014/main" id="{9C4E5033-37EE-4550-A2E0-8AE55D3C236D}"/>
                    </a:ext>
                  </a:extLst>
                </p:cNvPr>
                <p:cNvSpPr/>
                <p:nvPr/>
              </p:nvSpPr>
              <p:spPr>
                <a:xfrm rot="-5400000" flipH="1">
                  <a:off x="4264594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5" name="Google Shape;472;p35">
                  <a:extLst>
                    <a:ext uri="{FF2B5EF4-FFF2-40B4-BE49-F238E27FC236}">
                      <a16:creationId xmlns:a16="http://schemas.microsoft.com/office/drawing/2014/main" id="{51FA4475-ED92-4FCE-BB38-4C8856A93229}"/>
                    </a:ext>
                  </a:extLst>
                </p:cNvPr>
                <p:cNvSpPr/>
                <p:nvPr/>
              </p:nvSpPr>
              <p:spPr>
                <a:xfrm rot="-5400000" flipH="1">
                  <a:off x="4537032" y="1890183"/>
                  <a:ext cx="291913" cy="2436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56" h="14236" extrusionOk="0">
                      <a:moveTo>
                        <a:pt x="0" y="0"/>
                      </a:moveTo>
                      <a:lnTo>
                        <a:pt x="9096" y="14235"/>
                      </a:lnTo>
                      <a:lnTo>
                        <a:pt x="17055" y="0"/>
                      </a:lnTo>
                      <a:lnTo>
                        <a:pt x="11370" y="0"/>
                      </a:lnTo>
                      <a:lnTo>
                        <a:pt x="8505" y="4548"/>
                      </a:lnTo>
                      <a:lnTo>
                        <a:pt x="5685" y="0"/>
                      </a:lnTo>
                      <a:close/>
                    </a:path>
                  </a:pathLst>
                </a:custGeom>
                <a:solidFill>
                  <a:srgbClr val="3B9CD1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defTabSz="1219170">
                    <a:buClr>
                      <a:srgbClr val="000000"/>
                    </a:buClr>
                  </a:pPr>
                  <a:endParaRPr sz="1867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3961AC6-E37F-47DE-9CD5-4CF9973C7E98}"/>
              </a:ext>
            </a:extLst>
          </p:cNvPr>
          <p:cNvGrpSpPr/>
          <p:nvPr/>
        </p:nvGrpSpPr>
        <p:grpSpPr>
          <a:xfrm>
            <a:off x="7612208" y="2668278"/>
            <a:ext cx="2284720" cy="1035735"/>
            <a:chOff x="5697503" y="2208476"/>
            <a:chExt cx="1713540" cy="776801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0828E300-6254-45DA-8A56-0C4AF83569DF}"/>
                </a:ext>
              </a:extLst>
            </p:cNvPr>
            <p:cNvSpPr txBox="1"/>
            <p:nvPr/>
          </p:nvSpPr>
          <p:spPr>
            <a:xfrm>
              <a:off x="6132297" y="2208476"/>
              <a:ext cx="1278746" cy="4694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en-US" sz="1867" b="1" kern="0" dirty="0">
                  <a:solidFill>
                    <a:srgbClr val="FFFFFF"/>
                  </a:solidFill>
                  <a:latin typeface="Europa-Bold" panose="02000000000000000000" pitchFamily="2" charset="0"/>
                  <a:cs typeface="Arial"/>
                  <a:sym typeface="Barlow Condensed"/>
                </a:rPr>
                <a:t>TVET Forum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15 July 2022</a:t>
              </a:r>
              <a:endParaRPr lang="en-US" sz="1867" kern="0" dirty="0">
                <a:solidFill>
                  <a:srgbClr val="FFFFFF"/>
                </a:solidFill>
                <a:latin typeface="Europa-Regular" panose="02000000000000000000" pitchFamily="2" charset="0"/>
                <a:cs typeface="Arial"/>
                <a:sym typeface="Barlow Condensed"/>
              </a:endParaRPr>
            </a:p>
          </p:txBody>
        </p:sp>
        <p:grpSp>
          <p:nvGrpSpPr>
            <p:cNvPr id="118" name="Google Shape;3637;p64">
              <a:extLst>
                <a:ext uri="{FF2B5EF4-FFF2-40B4-BE49-F238E27FC236}">
                  <a16:creationId xmlns:a16="http://schemas.microsoft.com/office/drawing/2014/main" id="{EFAD5D02-E034-40C7-B415-5E5505F261E1}"/>
                </a:ext>
              </a:extLst>
            </p:cNvPr>
            <p:cNvGrpSpPr/>
            <p:nvPr/>
          </p:nvGrpSpPr>
          <p:grpSpPr>
            <a:xfrm>
              <a:off x="5697503" y="2230405"/>
              <a:ext cx="483675" cy="754872"/>
              <a:chOff x="7248525" y="3739696"/>
              <a:chExt cx="230531" cy="359790"/>
            </a:xfrm>
          </p:grpSpPr>
          <p:sp>
            <p:nvSpPr>
              <p:cNvPr id="119" name="Google Shape;3638;p64">
                <a:extLst>
                  <a:ext uri="{FF2B5EF4-FFF2-40B4-BE49-F238E27FC236}">
                    <a16:creationId xmlns:a16="http://schemas.microsoft.com/office/drawing/2014/main" id="{C6A989EE-7B78-4913-AF46-2B6C235DB0F3}"/>
                  </a:ext>
                </a:extLst>
              </p:cNvPr>
              <p:cNvSpPr/>
              <p:nvPr/>
            </p:nvSpPr>
            <p:spPr>
              <a:xfrm>
                <a:off x="7248525" y="3739696"/>
                <a:ext cx="230531" cy="359790"/>
              </a:xfrm>
              <a:custGeom>
                <a:avLst/>
                <a:gdLst/>
                <a:ahLst/>
                <a:cxnLst/>
                <a:rect l="l" t="t" r="r" b="b"/>
                <a:pathLst>
                  <a:path w="25354" h="39570" extrusionOk="0">
                    <a:moveTo>
                      <a:pt x="19434" y="18"/>
                    </a:moveTo>
                    <a:lnTo>
                      <a:pt x="6338" y="5"/>
                    </a:lnTo>
                    <a:cubicBezTo>
                      <a:pt x="2854" y="0"/>
                      <a:pt x="1" y="2858"/>
                      <a:pt x="1" y="6342"/>
                    </a:cubicBezTo>
                    <a:lnTo>
                      <a:pt x="1" y="19016"/>
                    </a:lnTo>
                    <a:cubicBezTo>
                      <a:pt x="1" y="29006"/>
                      <a:pt x="6280" y="22820"/>
                      <a:pt x="12679" y="39570"/>
                    </a:cubicBezTo>
                    <a:cubicBezTo>
                      <a:pt x="19074" y="22820"/>
                      <a:pt x="25354" y="29006"/>
                      <a:pt x="25354" y="19016"/>
                    </a:cubicBezTo>
                    <a:lnTo>
                      <a:pt x="25354" y="6342"/>
                    </a:lnTo>
                    <a:cubicBezTo>
                      <a:pt x="25354" y="2858"/>
                      <a:pt x="22923" y="18"/>
                      <a:pt x="19434" y="18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0" name="Google Shape;3639;p64">
                <a:extLst>
                  <a:ext uri="{FF2B5EF4-FFF2-40B4-BE49-F238E27FC236}">
                    <a16:creationId xmlns:a16="http://schemas.microsoft.com/office/drawing/2014/main" id="{C57D1E36-1E54-4046-8C62-3F5E761D868C}"/>
                  </a:ext>
                </a:extLst>
              </p:cNvPr>
              <p:cNvSpPr/>
              <p:nvPr/>
            </p:nvSpPr>
            <p:spPr>
              <a:xfrm>
                <a:off x="7271639" y="3762810"/>
                <a:ext cx="184350" cy="184387"/>
              </a:xfrm>
              <a:custGeom>
                <a:avLst/>
                <a:gdLst/>
                <a:ahLst/>
                <a:cxnLst/>
                <a:rect l="l" t="t" r="r" b="b"/>
                <a:pathLst>
                  <a:path w="20275" h="20279" extrusionOk="0">
                    <a:moveTo>
                      <a:pt x="3738" y="0"/>
                    </a:moveTo>
                    <a:lnTo>
                      <a:pt x="16532" y="0"/>
                    </a:lnTo>
                    <a:cubicBezTo>
                      <a:pt x="18594" y="5"/>
                      <a:pt x="20270" y="1680"/>
                      <a:pt x="20274" y="3742"/>
                    </a:cubicBezTo>
                    <a:lnTo>
                      <a:pt x="20274" y="16536"/>
                    </a:lnTo>
                    <a:cubicBezTo>
                      <a:pt x="20270" y="18598"/>
                      <a:pt x="18594" y="20274"/>
                      <a:pt x="16532" y="20278"/>
                    </a:cubicBezTo>
                    <a:lnTo>
                      <a:pt x="3738" y="20278"/>
                    </a:lnTo>
                    <a:cubicBezTo>
                      <a:pt x="1676" y="20274"/>
                      <a:pt x="5" y="18598"/>
                      <a:pt x="1" y="16536"/>
                    </a:cubicBezTo>
                    <a:lnTo>
                      <a:pt x="1" y="3742"/>
                    </a:lnTo>
                    <a:cubicBezTo>
                      <a:pt x="5" y="1680"/>
                      <a:pt x="1676" y="5"/>
                      <a:pt x="373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24972DD3-A5CA-4987-8C45-A6585AF3B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48839" y="2316825"/>
              <a:ext cx="395943" cy="348936"/>
            </a:xfrm>
            <a:prstGeom prst="rect">
              <a:avLst/>
            </a:prstGeom>
          </p:spPr>
        </p:pic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5D6DC9F9-A1C4-4024-BFBC-C606E28539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43997" y="281969"/>
            <a:ext cx="763227" cy="755359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DAE507B2-552E-4F38-9C53-7116BF5760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19311" y="3321725"/>
            <a:ext cx="736093" cy="606828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1AA60BE-BF10-4E07-B595-F3E2B558CD70}"/>
              </a:ext>
            </a:extLst>
          </p:cNvPr>
          <p:cNvGrpSpPr/>
          <p:nvPr/>
        </p:nvGrpSpPr>
        <p:grpSpPr>
          <a:xfrm>
            <a:off x="3085760" y="2707951"/>
            <a:ext cx="2414121" cy="1006495"/>
            <a:chOff x="5509739" y="2194314"/>
            <a:chExt cx="1810591" cy="754872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753B041-84FC-4308-BDF0-F8F57F8976FE}"/>
                </a:ext>
              </a:extLst>
            </p:cNvPr>
            <p:cNvSpPr txBox="1"/>
            <p:nvPr/>
          </p:nvSpPr>
          <p:spPr>
            <a:xfrm>
              <a:off x="6041584" y="2194314"/>
              <a:ext cx="1278746" cy="6849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en-US" sz="1867" b="1" kern="0" dirty="0">
                  <a:solidFill>
                    <a:srgbClr val="FFFFFF"/>
                  </a:solidFill>
                  <a:latin typeface="Europa-Bold" panose="02000000000000000000" pitchFamily="2" charset="0"/>
                  <a:cs typeface="Arial"/>
                  <a:sym typeface="Barlow Condensed"/>
                </a:rPr>
                <a:t>Second Wave of COVID</a:t>
              </a:r>
            </a:p>
            <a:p>
              <a:pPr defTabSz="1219170">
                <a:buClr>
                  <a:srgbClr val="000000"/>
                </a:buClr>
              </a:pPr>
              <a:r>
                <a:rPr lang="en-US" sz="1600" kern="0" dirty="0">
                  <a:solidFill>
                    <a:srgbClr val="FFFFFF"/>
                  </a:solidFill>
                  <a:latin typeface="Europa-Regular" panose="02000000000000000000" pitchFamily="2" charset="0"/>
                  <a:cs typeface="Arial"/>
                  <a:sym typeface="Barlow Condensed"/>
                </a:rPr>
                <a:t> May 2021</a:t>
              </a:r>
              <a:endParaRPr lang="en-US" sz="1867" kern="0" dirty="0">
                <a:solidFill>
                  <a:srgbClr val="FFFFFF"/>
                </a:solidFill>
                <a:latin typeface="Europa-Regular" panose="02000000000000000000" pitchFamily="2" charset="0"/>
                <a:cs typeface="Arial"/>
                <a:sym typeface="Barlow Condensed"/>
              </a:endParaRPr>
            </a:p>
          </p:txBody>
        </p:sp>
        <p:grpSp>
          <p:nvGrpSpPr>
            <p:cNvPr id="116" name="Google Shape;3637;p64">
              <a:extLst>
                <a:ext uri="{FF2B5EF4-FFF2-40B4-BE49-F238E27FC236}">
                  <a16:creationId xmlns:a16="http://schemas.microsoft.com/office/drawing/2014/main" id="{F748C409-A417-416E-A0E3-5D8DE863627D}"/>
                </a:ext>
              </a:extLst>
            </p:cNvPr>
            <p:cNvGrpSpPr/>
            <p:nvPr/>
          </p:nvGrpSpPr>
          <p:grpSpPr>
            <a:xfrm>
              <a:off x="5509739" y="2194314"/>
              <a:ext cx="483675" cy="754872"/>
              <a:chOff x="7248525" y="3739696"/>
              <a:chExt cx="230531" cy="359790"/>
            </a:xfrm>
          </p:grpSpPr>
          <p:sp>
            <p:nvSpPr>
              <p:cNvPr id="122" name="Google Shape;3638;p64">
                <a:extLst>
                  <a:ext uri="{FF2B5EF4-FFF2-40B4-BE49-F238E27FC236}">
                    <a16:creationId xmlns:a16="http://schemas.microsoft.com/office/drawing/2014/main" id="{BBBEC016-7B18-41BF-BFB1-07892343ACDF}"/>
                  </a:ext>
                </a:extLst>
              </p:cNvPr>
              <p:cNvSpPr/>
              <p:nvPr/>
            </p:nvSpPr>
            <p:spPr>
              <a:xfrm>
                <a:off x="7248525" y="3739696"/>
                <a:ext cx="230531" cy="359790"/>
              </a:xfrm>
              <a:custGeom>
                <a:avLst/>
                <a:gdLst/>
                <a:ahLst/>
                <a:cxnLst/>
                <a:rect l="l" t="t" r="r" b="b"/>
                <a:pathLst>
                  <a:path w="25354" h="39570" extrusionOk="0">
                    <a:moveTo>
                      <a:pt x="19434" y="18"/>
                    </a:moveTo>
                    <a:lnTo>
                      <a:pt x="6338" y="5"/>
                    </a:lnTo>
                    <a:cubicBezTo>
                      <a:pt x="2854" y="0"/>
                      <a:pt x="1" y="2858"/>
                      <a:pt x="1" y="6342"/>
                    </a:cubicBezTo>
                    <a:lnTo>
                      <a:pt x="1" y="19016"/>
                    </a:lnTo>
                    <a:cubicBezTo>
                      <a:pt x="1" y="29006"/>
                      <a:pt x="6280" y="22820"/>
                      <a:pt x="12679" y="39570"/>
                    </a:cubicBezTo>
                    <a:cubicBezTo>
                      <a:pt x="19074" y="22820"/>
                      <a:pt x="25354" y="29006"/>
                      <a:pt x="25354" y="19016"/>
                    </a:cubicBezTo>
                    <a:lnTo>
                      <a:pt x="25354" y="6342"/>
                    </a:lnTo>
                    <a:cubicBezTo>
                      <a:pt x="25354" y="2858"/>
                      <a:pt x="22923" y="18"/>
                      <a:pt x="19434" y="18"/>
                    </a:cubicBezTo>
                    <a:close/>
                  </a:path>
                </a:pathLst>
              </a:custGeom>
              <a:solidFill>
                <a:srgbClr val="CFD9E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23" name="Google Shape;3639;p64">
                <a:extLst>
                  <a:ext uri="{FF2B5EF4-FFF2-40B4-BE49-F238E27FC236}">
                    <a16:creationId xmlns:a16="http://schemas.microsoft.com/office/drawing/2014/main" id="{5A8A44AC-B1DF-48DB-9201-2715DC59120D}"/>
                  </a:ext>
                </a:extLst>
              </p:cNvPr>
              <p:cNvSpPr/>
              <p:nvPr/>
            </p:nvSpPr>
            <p:spPr>
              <a:xfrm>
                <a:off x="7271639" y="3762810"/>
                <a:ext cx="184350" cy="184387"/>
              </a:xfrm>
              <a:custGeom>
                <a:avLst/>
                <a:gdLst/>
                <a:ahLst/>
                <a:cxnLst/>
                <a:rect l="l" t="t" r="r" b="b"/>
                <a:pathLst>
                  <a:path w="20275" h="20279" extrusionOk="0">
                    <a:moveTo>
                      <a:pt x="3738" y="0"/>
                    </a:moveTo>
                    <a:lnTo>
                      <a:pt x="16532" y="0"/>
                    </a:lnTo>
                    <a:cubicBezTo>
                      <a:pt x="18594" y="5"/>
                      <a:pt x="20270" y="1680"/>
                      <a:pt x="20274" y="3742"/>
                    </a:cubicBezTo>
                    <a:lnTo>
                      <a:pt x="20274" y="16536"/>
                    </a:lnTo>
                    <a:cubicBezTo>
                      <a:pt x="20270" y="18598"/>
                      <a:pt x="18594" y="20274"/>
                      <a:pt x="16532" y="20278"/>
                    </a:cubicBezTo>
                    <a:lnTo>
                      <a:pt x="3738" y="20278"/>
                    </a:lnTo>
                    <a:cubicBezTo>
                      <a:pt x="1676" y="20274"/>
                      <a:pt x="5" y="18598"/>
                      <a:pt x="1" y="16536"/>
                    </a:cubicBezTo>
                    <a:lnTo>
                      <a:pt x="1" y="3742"/>
                    </a:lnTo>
                    <a:cubicBezTo>
                      <a:pt x="5" y="1680"/>
                      <a:pt x="1676" y="5"/>
                      <a:pt x="373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sz="1867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B4C58D90-DAAE-4275-B609-651528F3B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75773" y="2261864"/>
              <a:ext cx="351221" cy="3429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48677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D6FF5A-9A58-4687-B095-3CEB9DA557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2" t="2779" r="2809" b="2777"/>
          <a:stretch/>
        </p:blipFill>
        <p:spPr>
          <a:xfrm>
            <a:off x="648123" y="0"/>
            <a:ext cx="5230906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2DDAA8-8685-4111-94F1-A6280F1FD1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6" t="2963" r="2974" b="2407"/>
          <a:stretch/>
        </p:blipFill>
        <p:spPr>
          <a:xfrm>
            <a:off x="6310009" y="-1"/>
            <a:ext cx="5372100" cy="687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837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Roadma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548DD4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BCF70AA-EAC3-43C0-9B46-B608122E8DEE}" vid="{8125BF4E-B66F-4F10-9AE5-48A53494EADE}"/>
    </a:ext>
  </a:extLst>
</a:theme>
</file>

<file path=ppt/theme/theme2.xml><?xml version="1.0" encoding="utf-8"?>
<a:theme xmlns:a="http://schemas.openxmlformats.org/drawingml/2006/main" name="Morpheus Professional">
  <a:themeElements>
    <a:clrScheme name="Simple Light">
      <a:dk1>
        <a:srgbClr val="000000"/>
      </a:dk1>
      <a:lt1>
        <a:srgbClr val="FFFFFF"/>
      </a:lt1>
      <a:dk2>
        <a:srgbClr val="34568B"/>
      </a:dk2>
      <a:lt2>
        <a:srgbClr val="3B9CD1"/>
      </a:lt2>
      <a:accent1>
        <a:srgbClr val="34568B"/>
      </a:accent1>
      <a:accent2>
        <a:srgbClr val="212121"/>
      </a:accent2>
      <a:accent3>
        <a:srgbClr val="3B9CD1"/>
      </a:accent3>
      <a:accent4>
        <a:srgbClr val="212121"/>
      </a:accent4>
      <a:accent5>
        <a:srgbClr val="FFFFFF"/>
      </a:accent5>
      <a:accent6>
        <a:srgbClr val="34568B"/>
      </a:accent6>
      <a:hlink>
        <a:srgbClr val="3B9CD1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4BB1F4E2C1E044A9595A516A065DB4" ma:contentTypeVersion="14" ma:contentTypeDescription="Create a new document." ma:contentTypeScope="" ma:versionID="617c644d56bdee9a0a3e61bde6226d56">
  <xsd:schema xmlns:xsd="http://www.w3.org/2001/XMLSchema" xmlns:xs="http://www.w3.org/2001/XMLSchema" xmlns:p="http://schemas.microsoft.com/office/2006/metadata/properties" xmlns:ns3="363e8a49-8bd4-4909-b5e1-1094c7090ab2" xmlns:ns4="feab242d-dcd5-4e5f-82fd-cefd65c4d3d2" targetNamespace="http://schemas.microsoft.com/office/2006/metadata/properties" ma:root="true" ma:fieldsID="44a344465ab3fa8e651f56b02f7d081e" ns3:_="" ns4:_="">
    <xsd:import namespace="363e8a49-8bd4-4909-b5e1-1094c7090ab2"/>
    <xsd:import namespace="feab242d-dcd5-4e5f-82fd-cefd65c4d3d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LengthInSecond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e8a49-8bd4-4909-b5e1-1094c7090ab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b242d-dcd5-4e5f-82fd-cefd65c4d3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655631-C3EB-4C2E-A58F-5CE7FDD193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e8a49-8bd4-4909-b5e1-1094c7090ab2"/>
    <ds:schemaRef ds:uri="feab242d-dcd5-4e5f-82fd-cefd65c4d3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3BB73BA-F0C0-4C99-8735-B87E2B00D24E}">
  <ds:schemaRefs>
    <ds:schemaRef ds:uri="363e8a49-8bd4-4909-b5e1-1094c7090ab2"/>
    <ds:schemaRef ds:uri="feab242d-dcd5-4e5f-82fd-cefd65c4d3d2"/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E09F672-FDE7-4159-B8C1-4EBB10EC8F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66</TotalTime>
  <Words>423</Words>
  <Application>Microsoft Office PowerPoint</Application>
  <PresentationFormat>Widescreen</PresentationFormat>
  <Paragraphs>84</Paragraphs>
  <Slides>2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Barlow Condensed</vt:lpstr>
      <vt:lpstr>Calibri</vt:lpstr>
      <vt:lpstr>Calibri Light</vt:lpstr>
      <vt:lpstr>Cambria</vt:lpstr>
      <vt:lpstr>Europa-Bold</vt:lpstr>
      <vt:lpstr>Europa-Regular</vt:lpstr>
      <vt:lpstr>Times New Roman</vt:lpstr>
      <vt:lpstr>Wingdings</vt:lpstr>
      <vt:lpstr>Office Theme</vt:lpstr>
      <vt:lpstr>Morpheus Professional</vt:lpstr>
      <vt:lpstr>Fiji Higher Education Forum Day 3 – TVET Stakeholders Perspectives</vt:lpstr>
      <vt:lpstr>Session 1</vt:lpstr>
      <vt:lpstr>Session 2</vt:lpstr>
      <vt:lpstr>Session 2</vt:lpstr>
      <vt:lpstr>PowerPoint Presentation</vt:lpstr>
      <vt:lpstr>Session 2: So what has happened?</vt:lpstr>
      <vt:lpstr>PowerPoint Presentation</vt:lpstr>
      <vt:lpstr>PowerPoint Presentation</vt:lpstr>
      <vt:lpstr>PowerPoint Presentation</vt:lpstr>
      <vt:lpstr>Session 3</vt:lpstr>
      <vt:lpstr> </vt:lpstr>
      <vt:lpstr>Session 4: Panel Discussion 1</vt:lpstr>
      <vt:lpstr> </vt:lpstr>
      <vt:lpstr> </vt:lpstr>
      <vt:lpstr>Beneficiaries of a robust and enabling TVET Policy environment</vt:lpstr>
      <vt:lpstr>PowerPoint Presentation</vt:lpstr>
      <vt:lpstr> </vt:lpstr>
      <vt:lpstr> </vt:lpstr>
      <vt:lpstr>Session 7: How can stakeholders best add value? </vt:lpstr>
      <vt:lpstr> </vt:lpstr>
      <vt:lpstr>Closing Remar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ory Of Change Workshop</dc:title>
  <dc:creator>Taitos Matafeni</dc:creator>
  <cp:lastModifiedBy>Mubeena Shaheed</cp:lastModifiedBy>
  <cp:revision>503</cp:revision>
  <cp:lastPrinted>2020-09-28T22:31:47Z</cp:lastPrinted>
  <dcterms:created xsi:type="dcterms:W3CDTF">2019-05-01T03:14:19Z</dcterms:created>
  <dcterms:modified xsi:type="dcterms:W3CDTF">2022-07-15T01:2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4BB1F4E2C1E044A9595A516A065DB4</vt:lpwstr>
  </property>
</Properties>
</file>